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6" r:id="rId4"/>
  </p:sldMasterIdLst>
  <p:notesMasterIdLst>
    <p:notesMasterId r:id="rId21"/>
  </p:notesMasterIdLst>
  <p:handoutMasterIdLst>
    <p:handoutMasterId r:id="rId22"/>
  </p:handoutMasterIdLst>
  <p:sldIdLst>
    <p:sldId id="501" r:id="rId5"/>
    <p:sldId id="502" r:id="rId6"/>
    <p:sldId id="900" r:id="rId7"/>
    <p:sldId id="909" r:id="rId8"/>
    <p:sldId id="910" r:id="rId9"/>
    <p:sldId id="908" r:id="rId10"/>
    <p:sldId id="510" r:id="rId11"/>
    <p:sldId id="515" r:id="rId12"/>
    <p:sldId id="516" r:id="rId13"/>
    <p:sldId id="517" r:id="rId14"/>
    <p:sldId id="511" r:id="rId15"/>
    <p:sldId id="854" r:id="rId16"/>
    <p:sldId id="898" r:id="rId17"/>
    <p:sldId id="850" r:id="rId18"/>
    <p:sldId id="911" r:id="rId19"/>
    <p:sldId id="505" r:id="rId20"/>
  </p:sldIdLst>
  <p:sldSz cx="12192000" cy="6858000"/>
  <p:notesSz cx="10048875" cy="6918325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76" userDrawn="1">
          <p15:clr>
            <a:srgbClr val="A4A3A4"/>
          </p15:clr>
        </p15:guide>
        <p15:guide id="4" pos="7296" userDrawn="1">
          <p15:clr>
            <a:srgbClr val="A4A3A4"/>
          </p15:clr>
        </p15:guide>
        <p15:guide id="5" pos="384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orient="horz" pos="672" userDrawn="1">
          <p15:clr>
            <a:srgbClr val="A4A3A4"/>
          </p15:clr>
        </p15:guide>
        <p15:guide id="8" orient="horz" pos="39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5D8A"/>
    <a:srgbClr val="FFFFCC"/>
    <a:srgbClr val="FF9900"/>
    <a:srgbClr val="99FF33"/>
    <a:srgbClr val="CC99FF"/>
    <a:srgbClr val="66CCFF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3" autoAdjust="0"/>
    <p:restoredTop sz="85829" autoAdjust="0"/>
  </p:normalViewPr>
  <p:slideViewPr>
    <p:cSldViewPr>
      <p:cViewPr varScale="1">
        <p:scale>
          <a:sx n="86" d="100"/>
          <a:sy n="86" d="100"/>
        </p:scale>
        <p:origin x="856" y="64"/>
      </p:cViewPr>
      <p:guideLst>
        <p:guide orient="horz" pos="2160"/>
        <p:guide pos="576"/>
        <p:guide pos="7296"/>
        <p:guide pos="384"/>
        <p:guide pos="3840"/>
        <p:guide orient="horz" pos="672"/>
        <p:guide orient="horz" pos="39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AD3F51-A014-40AD-BC4C-3A88F24F3CF6}" type="doc">
      <dgm:prSet loTypeId="urn:microsoft.com/office/officeart/2005/8/layout/vList5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9E03FC9-B9D6-4763-980B-4907B54CD232}">
      <dgm:prSet custT="1"/>
      <dgm:spPr/>
      <dgm:t>
        <a:bodyPr/>
        <a:lstStyle/>
        <a:p>
          <a:r>
            <a:rPr lang="en-US" sz="2400" dirty="0"/>
            <a:t>GLS - important component of SoC design cycle</a:t>
          </a:r>
          <a:endParaRPr lang="en-IN" sz="2400" dirty="0"/>
        </a:p>
      </dgm:t>
    </dgm:pt>
    <dgm:pt modelId="{498CE933-C3A7-49FF-8159-9039D2AE587F}" type="parTrans" cxnId="{3D0C0005-0727-428E-AC68-DE6943F14386}">
      <dgm:prSet/>
      <dgm:spPr/>
      <dgm:t>
        <a:bodyPr/>
        <a:lstStyle/>
        <a:p>
          <a:endParaRPr lang="en-IN"/>
        </a:p>
      </dgm:t>
    </dgm:pt>
    <dgm:pt modelId="{E1BF1E40-84FD-484D-9F1E-D154D6F3719B}" type="sibTrans" cxnId="{3D0C0005-0727-428E-AC68-DE6943F14386}">
      <dgm:prSet/>
      <dgm:spPr/>
      <dgm:t>
        <a:bodyPr/>
        <a:lstStyle/>
        <a:p>
          <a:endParaRPr lang="en-IN"/>
        </a:p>
      </dgm:t>
    </dgm:pt>
    <dgm:pt modelId="{F3854A14-E43F-4331-9AD4-84E67A36AD3B}">
      <dgm:prSet custT="1"/>
      <dgm:spPr/>
      <dgm:t>
        <a:bodyPr/>
        <a:lstStyle/>
        <a:p>
          <a:r>
            <a:rPr lang="en-US" sz="2000" dirty="0"/>
            <a:t>Can identify issues missed by RTL simulations, STA, and LEC</a:t>
          </a:r>
          <a:endParaRPr lang="en-IN" sz="2000" dirty="0"/>
        </a:p>
      </dgm:t>
    </dgm:pt>
    <dgm:pt modelId="{CBA90D48-9CA4-4CB3-AF7A-F20254DEBF83}" type="parTrans" cxnId="{0BFD1832-EDD6-4679-930E-6D1CC32E9650}">
      <dgm:prSet/>
      <dgm:spPr/>
      <dgm:t>
        <a:bodyPr/>
        <a:lstStyle/>
        <a:p>
          <a:endParaRPr lang="en-IN"/>
        </a:p>
      </dgm:t>
    </dgm:pt>
    <dgm:pt modelId="{2C06625F-099D-48D0-93CB-2F7C85928ED0}" type="sibTrans" cxnId="{0BFD1832-EDD6-4679-930E-6D1CC32E9650}">
      <dgm:prSet/>
      <dgm:spPr/>
      <dgm:t>
        <a:bodyPr/>
        <a:lstStyle/>
        <a:p>
          <a:endParaRPr lang="en-IN"/>
        </a:p>
      </dgm:t>
    </dgm:pt>
    <dgm:pt modelId="{E902FAAE-448C-46B6-A6B9-921E05F3657F}">
      <dgm:prSet custT="1"/>
      <dgm:spPr/>
      <dgm:t>
        <a:bodyPr/>
        <a:lstStyle/>
        <a:p>
          <a:r>
            <a:rPr lang="en-US" sz="2400" dirty="0"/>
            <a:t>Natural choice at SoC level</a:t>
          </a:r>
          <a:endParaRPr lang="en-IN" sz="2400" dirty="0"/>
        </a:p>
      </dgm:t>
    </dgm:pt>
    <dgm:pt modelId="{8AF873CC-AD6A-47B8-B786-7CA8F480BDC7}" type="parTrans" cxnId="{A94D26BB-BACD-47B5-A333-297794B6F815}">
      <dgm:prSet/>
      <dgm:spPr/>
      <dgm:t>
        <a:bodyPr/>
        <a:lstStyle/>
        <a:p>
          <a:endParaRPr lang="en-IN"/>
        </a:p>
      </dgm:t>
    </dgm:pt>
    <dgm:pt modelId="{B71BD8A3-9D78-4EB7-8E80-B51CBB607544}" type="sibTrans" cxnId="{A94D26BB-BACD-47B5-A333-297794B6F815}">
      <dgm:prSet/>
      <dgm:spPr/>
      <dgm:t>
        <a:bodyPr/>
        <a:lstStyle/>
        <a:p>
          <a:endParaRPr lang="en-IN"/>
        </a:p>
      </dgm:t>
    </dgm:pt>
    <dgm:pt modelId="{B825934D-AD58-4088-9712-17E36A9C843F}">
      <dgm:prSet custT="1"/>
      <dgm:spPr/>
      <dgm:t>
        <a:bodyPr/>
        <a:lstStyle/>
        <a:p>
          <a:r>
            <a:rPr lang="en-IN" sz="2000" dirty="0"/>
            <a:t>Synthesis, timing closure done at SoC level</a:t>
          </a:r>
        </a:p>
      </dgm:t>
    </dgm:pt>
    <dgm:pt modelId="{3F9C8532-2A87-43C4-A943-EA33233F4D6B}" type="parTrans" cxnId="{5D5B88F9-D349-4A40-AA6B-F62045FFB978}">
      <dgm:prSet/>
      <dgm:spPr/>
      <dgm:t>
        <a:bodyPr/>
        <a:lstStyle/>
        <a:p>
          <a:endParaRPr lang="en-IN"/>
        </a:p>
      </dgm:t>
    </dgm:pt>
    <dgm:pt modelId="{5866981B-BEB2-4E22-AED9-916DB26F4B9E}" type="sibTrans" cxnId="{5D5B88F9-D349-4A40-AA6B-F62045FFB978}">
      <dgm:prSet/>
      <dgm:spPr/>
      <dgm:t>
        <a:bodyPr/>
        <a:lstStyle/>
        <a:p>
          <a:endParaRPr lang="en-IN"/>
        </a:p>
      </dgm:t>
    </dgm:pt>
    <dgm:pt modelId="{AD41EF4C-87F1-487F-9667-FE5827ABD00D}">
      <dgm:prSet custT="1"/>
      <dgm:spPr/>
      <dgm:t>
        <a:bodyPr/>
        <a:lstStyle/>
        <a:p>
          <a:r>
            <a:rPr lang="en-US" sz="2400" dirty="0"/>
            <a:t>What is Hard IP?</a:t>
          </a:r>
          <a:endParaRPr lang="en-IN" sz="2400" dirty="0"/>
        </a:p>
      </dgm:t>
    </dgm:pt>
    <dgm:pt modelId="{E3425D67-EA7F-422B-95DB-6BD82EE58EA1}" type="parTrans" cxnId="{83A49DE4-8132-47A5-8BB0-735A8BCF3A50}">
      <dgm:prSet/>
      <dgm:spPr/>
      <dgm:t>
        <a:bodyPr/>
        <a:lstStyle/>
        <a:p>
          <a:endParaRPr lang="en-IN"/>
        </a:p>
      </dgm:t>
    </dgm:pt>
    <dgm:pt modelId="{56B9A564-6B12-4590-BD7E-06560714E051}" type="sibTrans" cxnId="{83A49DE4-8132-47A5-8BB0-735A8BCF3A50}">
      <dgm:prSet/>
      <dgm:spPr/>
      <dgm:t>
        <a:bodyPr/>
        <a:lstStyle/>
        <a:p>
          <a:endParaRPr lang="en-IN"/>
        </a:p>
      </dgm:t>
    </dgm:pt>
    <dgm:pt modelId="{1633BBF8-83B7-47A9-9158-C083BC316818}">
      <dgm:prSet custT="1"/>
      <dgm:spPr/>
      <dgm:t>
        <a:bodyPr/>
        <a:lstStyle/>
        <a:p>
          <a:r>
            <a:rPr lang="en-US" sz="2000" dirty="0"/>
            <a:t>Synthesis and timing closure done at IP level</a:t>
          </a:r>
          <a:endParaRPr lang="en-IN" sz="2000" dirty="0"/>
        </a:p>
      </dgm:t>
    </dgm:pt>
    <dgm:pt modelId="{8413C5D0-1E29-40A7-ACE7-31B2DC1003FB}" type="parTrans" cxnId="{73058265-B66A-4EA2-87BD-5EC84BF1F7A7}">
      <dgm:prSet/>
      <dgm:spPr/>
      <dgm:t>
        <a:bodyPr/>
        <a:lstStyle/>
        <a:p>
          <a:endParaRPr lang="en-IN"/>
        </a:p>
      </dgm:t>
    </dgm:pt>
    <dgm:pt modelId="{0316AB35-84A7-4054-8483-F6D8583C9B1F}" type="sibTrans" cxnId="{73058265-B66A-4EA2-87BD-5EC84BF1F7A7}">
      <dgm:prSet/>
      <dgm:spPr/>
      <dgm:t>
        <a:bodyPr/>
        <a:lstStyle/>
        <a:p>
          <a:endParaRPr lang="en-IN"/>
        </a:p>
      </dgm:t>
    </dgm:pt>
    <dgm:pt modelId="{6FB44D31-42C9-4180-83BA-BC72CB78CD30}">
      <dgm:prSet custT="1"/>
      <dgm:spPr/>
      <dgm:t>
        <a:bodyPr/>
        <a:lstStyle/>
        <a:p>
          <a:r>
            <a:rPr lang="en-US" sz="2000" dirty="0"/>
            <a:t>GLS needs to be done at IP level</a:t>
          </a:r>
          <a:endParaRPr lang="en-IN" sz="2000" dirty="0"/>
        </a:p>
      </dgm:t>
    </dgm:pt>
    <dgm:pt modelId="{00690AC1-5E3B-4CB2-9261-0DF9E6F21D0C}" type="parTrans" cxnId="{EC00BC2B-F398-453F-916C-6D8ED45EDEFE}">
      <dgm:prSet/>
      <dgm:spPr/>
      <dgm:t>
        <a:bodyPr/>
        <a:lstStyle/>
        <a:p>
          <a:endParaRPr lang="en-IN"/>
        </a:p>
      </dgm:t>
    </dgm:pt>
    <dgm:pt modelId="{BE996BAC-E393-414D-BCD0-DE4E3619C539}" type="sibTrans" cxnId="{EC00BC2B-F398-453F-916C-6D8ED45EDEFE}">
      <dgm:prSet/>
      <dgm:spPr/>
      <dgm:t>
        <a:bodyPr/>
        <a:lstStyle/>
        <a:p>
          <a:endParaRPr lang="en-IN"/>
        </a:p>
      </dgm:t>
    </dgm:pt>
    <dgm:pt modelId="{1AD1122B-60F1-4A5C-9C82-BD14FCB96104}">
      <dgm:prSet custT="1"/>
      <dgm:spPr/>
      <dgm:t>
        <a:bodyPr/>
        <a:lstStyle/>
        <a:p>
          <a:r>
            <a:rPr lang="en-US" sz="2400" dirty="0"/>
            <a:t>What is Hybrid IP?</a:t>
          </a:r>
          <a:endParaRPr lang="en-IN" sz="2400" dirty="0"/>
        </a:p>
      </dgm:t>
    </dgm:pt>
    <dgm:pt modelId="{142199D7-2C34-408F-8E52-94865DD14222}" type="parTrans" cxnId="{F3511CDF-EAFA-41C9-8134-DB143429DF3C}">
      <dgm:prSet/>
      <dgm:spPr/>
      <dgm:t>
        <a:bodyPr/>
        <a:lstStyle/>
        <a:p>
          <a:endParaRPr lang="en-IN"/>
        </a:p>
      </dgm:t>
    </dgm:pt>
    <dgm:pt modelId="{51839CEC-9305-4706-8B94-B52A01C46FF2}" type="sibTrans" cxnId="{F3511CDF-EAFA-41C9-8134-DB143429DF3C}">
      <dgm:prSet/>
      <dgm:spPr/>
      <dgm:t>
        <a:bodyPr/>
        <a:lstStyle/>
        <a:p>
          <a:endParaRPr lang="en-IN"/>
        </a:p>
      </dgm:t>
    </dgm:pt>
    <dgm:pt modelId="{8B591486-A654-4BBE-81CD-A60F6E6DDA61}">
      <dgm:prSet custT="1"/>
      <dgm:spPr/>
      <dgm:t>
        <a:bodyPr/>
        <a:lstStyle/>
        <a:p>
          <a:r>
            <a:rPr lang="en-US" sz="2000" dirty="0"/>
            <a:t>Specific IP sub-block timing closed at IP level</a:t>
          </a:r>
          <a:endParaRPr lang="en-IN" sz="2000" dirty="0"/>
        </a:p>
      </dgm:t>
    </dgm:pt>
    <dgm:pt modelId="{9DC07E68-409D-4F71-AE5A-57B519760209}" type="parTrans" cxnId="{13679352-762C-4B16-B81E-3C99670812A6}">
      <dgm:prSet/>
      <dgm:spPr/>
      <dgm:t>
        <a:bodyPr/>
        <a:lstStyle/>
        <a:p>
          <a:endParaRPr lang="en-IN"/>
        </a:p>
      </dgm:t>
    </dgm:pt>
    <dgm:pt modelId="{56FA0BF3-4263-4556-A1C5-EB07C918C613}" type="sibTrans" cxnId="{13679352-762C-4B16-B81E-3C99670812A6}">
      <dgm:prSet/>
      <dgm:spPr/>
      <dgm:t>
        <a:bodyPr/>
        <a:lstStyle/>
        <a:p>
          <a:endParaRPr lang="en-IN"/>
        </a:p>
      </dgm:t>
    </dgm:pt>
    <dgm:pt modelId="{755A0488-115B-4059-9E0C-BB215709842B}">
      <dgm:prSet custT="1"/>
      <dgm:spPr/>
      <dgm:t>
        <a:bodyPr/>
        <a:lstStyle/>
        <a:p>
          <a:r>
            <a:rPr lang="en-US" sz="2000" dirty="0"/>
            <a:t>How to do Hard IP sub-block GLS inside Hybrid IP?</a:t>
          </a:r>
          <a:endParaRPr lang="en-IN" sz="2000" dirty="0"/>
        </a:p>
      </dgm:t>
    </dgm:pt>
    <dgm:pt modelId="{4A354AFD-EF8E-4FFF-9F44-45D386A2B26F}" type="parTrans" cxnId="{28C6D4F7-A5B0-4D2C-AF80-91586D499DBF}">
      <dgm:prSet/>
      <dgm:spPr/>
      <dgm:t>
        <a:bodyPr/>
        <a:lstStyle/>
        <a:p>
          <a:endParaRPr lang="en-IN"/>
        </a:p>
      </dgm:t>
    </dgm:pt>
    <dgm:pt modelId="{E00D882B-D579-4618-819E-A7E56867F8C7}" type="sibTrans" cxnId="{28C6D4F7-A5B0-4D2C-AF80-91586D499DBF}">
      <dgm:prSet/>
      <dgm:spPr/>
      <dgm:t>
        <a:bodyPr/>
        <a:lstStyle/>
        <a:p>
          <a:endParaRPr lang="en-IN"/>
        </a:p>
      </dgm:t>
    </dgm:pt>
    <dgm:pt modelId="{CAF2E7DD-36CA-4720-848A-15BF039A075E}">
      <dgm:prSet custT="1"/>
      <dgm:spPr/>
      <dgm:t>
        <a:bodyPr/>
        <a:lstStyle/>
        <a:p>
          <a:r>
            <a:rPr lang="en-IN" sz="2000" dirty="0"/>
            <a:t>Hardened IP used as it is in SoC netlist</a:t>
          </a:r>
        </a:p>
      </dgm:t>
    </dgm:pt>
    <dgm:pt modelId="{71E71D5A-1B16-466B-8916-F07DA83A3A3B}" type="parTrans" cxnId="{969D8A77-1F20-48F3-8976-2314FB40763A}">
      <dgm:prSet/>
      <dgm:spPr/>
      <dgm:t>
        <a:bodyPr/>
        <a:lstStyle/>
        <a:p>
          <a:endParaRPr lang="en-IN"/>
        </a:p>
      </dgm:t>
    </dgm:pt>
    <dgm:pt modelId="{DEEAB1CB-80B7-4D43-8F4A-6EED55E15180}" type="sibTrans" cxnId="{969D8A77-1F20-48F3-8976-2314FB40763A}">
      <dgm:prSet/>
      <dgm:spPr/>
      <dgm:t>
        <a:bodyPr/>
        <a:lstStyle/>
        <a:p>
          <a:endParaRPr lang="en-IN"/>
        </a:p>
      </dgm:t>
    </dgm:pt>
    <dgm:pt modelId="{AFE17222-3615-40FD-95BD-708D9A35CFD2}">
      <dgm:prSet custT="1"/>
      <dgm:spPr/>
      <dgm:t>
        <a:bodyPr/>
        <a:lstStyle/>
        <a:p>
          <a:r>
            <a:rPr lang="en-US" sz="2000" dirty="0"/>
            <a:t>Rest of the IP remain as RTL only</a:t>
          </a:r>
          <a:endParaRPr lang="en-IN" sz="2000" dirty="0"/>
        </a:p>
      </dgm:t>
    </dgm:pt>
    <dgm:pt modelId="{2250C4D8-24AC-431C-87E1-53069DEAE2A7}" type="parTrans" cxnId="{5D2F121E-F176-48F7-BF2D-46AC46B6E727}">
      <dgm:prSet/>
      <dgm:spPr/>
      <dgm:t>
        <a:bodyPr/>
        <a:lstStyle/>
        <a:p>
          <a:endParaRPr lang="en-IN"/>
        </a:p>
      </dgm:t>
    </dgm:pt>
    <dgm:pt modelId="{23D5BB5C-F64F-4D1B-AAB2-5B21CD36F2EB}" type="sibTrans" cxnId="{5D2F121E-F176-48F7-BF2D-46AC46B6E727}">
      <dgm:prSet/>
      <dgm:spPr/>
      <dgm:t>
        <a:bodyPr/>
        <a:lstStyle/>
        <a:p>
          <a:endParaRPr lang="en-IN"/>
        </a:p>
      </dgm:t>
    </dgm:pt>
    <dgm:pt modelId="{3BDC866B-6397-49DE-9B52-95461A3C80B1}" type="pres">
      <dgm:prSet presAssocID="{87AD3F51-A014-40AD-BC4C-3A88F24F3CF6}" presName="Name0" presStyleCnt="0">
        <dgm:presLayoutVars>
          <dgm:dir/>
          <dgm:animLvl val="lvl"/>
          <dgm:resizeHandles val="exact"/>
        </dgm:presLayoutVars>
      </dgm:prSet>
      <dgm:spPr/>
    </dgm:pt>
    <dgm:pt modelId="{996E36D2-B27B-4BEB-80AF-BA32663DDF7D}" type="pres">
      <dgm:prSet presAssocID="{C9E03FC9-B9D6-4763-980B-4907B54CD232}" presName="linNode" presStyleCnt="0"/>
      <dgm:spPr/>
    </dgm:pt>
    <dgm:pt modelId="{2E7D77E4-212D-4F71-A408-E1AE3264BF3E}" type="pres">
      <dgm:prSet presAssocID="{C9E03FC9-B9D6-4763-980B-4907B54CD232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97D26DEE-1D0D-4643-8E4C-868C7206F4C0}" type="pres">
      <dgm:prSet presAssocID="{C9E03FC9-B9D6-4763-980B-4907B54CD232}" presName="descendantText" presStyleLbl="alignAccFollowNode1" presStyleIdx="0" presStyleCnt="4">
        <dgm:presLayoutVars>
          <dgm:bulletEnabled val="1"/>
        </dgm:presLayoutVars>
      </dgm:prSet>
      <dgm:spPr/>
    </dgm:pt>
    <dgm:pt modelId="{67DAA08F-99E2-49BF-AEB8-5C9DE26D9902}" type="pres">
      <dgm:prSet presAssocID="{E1BF1E40-84FD-484D-9F1E-D154D6F3719B}" presName="sp" presStyleCnt="0"/>
      <dgm:spPr/>
    </dgm:pt>
    <dgm:pt modelId="{0285514E-1134-4561-9DD9-ABFB9781C87E}" type="pres">
      <dgm:prSet presAssocID="{E902FAAE-448C-46B6-A6B9-921E05F3657F}" presName="linNode" presStyleCnt="0"/>
      <dgm:spPr/>
    </dgm:pt>
    <dgm:pt modelId="{79FFA976-44D6-40FD-A523-3E86F7A56190}" type="pres">
      <dgm:prSet presAssocID="{E902FAAE-448C-46B6-A6B9-921E05F3657F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9357106D-CE19-4D67-850C-7C948663B6FD}" type="pres">
      <dgm:prSet presAssocID="{E902FAAE-448C-46B6-A6B9-921E05F3657F}" presName="descendantText" presStyleLbl="alignAccFollowNode1" presStyleIdx="1" presStyleCnt="4">
        <dgm:presLayoutVars>
          <dgm:bulletEnabled val="1"/>
        </dgm:presLayoutVars>
      </dgm:prSet>
      <dgm:spPr/>
    </dgm:pt>
    <dgm:pt modelId="{68CDA6FE-016B-4ACC-B5A3-2AD5358BD4C0}" type="pres">
      <dgm:prSet presAssocID="{B71BD8A3-9D78-4EB7-8E80-B51CBB607544}" presName="sp" presStyleCnt="0"/>
      <dgm:spPr/>
    </dgm:pt>
    <dgm:pt modelId="{452BC5E3-DFEE-4353-9E47-B37DA5D666CC}" type="pres">
      <dgm:prSet presAssocID="{AD41EF4C-87F1-487F-9667-FE5827ABD00D}" presName="linNode" presStyleCnt="0"/>
      <dgm:spPr/>
    </dgm:pt>
    <dgm:pt modelId="{EC0F9832-5648-4D41-98D6-D9E72DB3E1C6}" type="pres">
      <dgm:prSet presAssocID="{AD41EF4C-87F1-487F-9667-FE5827ABD00D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6467D6E5-48A6-4C00-BA23-04A982621B2C}" type="pres">
      <dgm:prSet presAssocID="{AD41EF4C-87F1-487F-9667-FE5827ABD00D}" presName="descendantText" presStyleLbl="alignAccFollowNode1" presStyleIdx="2" presStyleCnt="4">
        <dgm:presLayoutVars>
          <dgm:bulletEnabled val="1"/>
        </dgm:presLayoutVars>
      </dgm:prSet>
      <dgm:spPr/>
    </dgm:pt>
    <dgm:pt modelId="{D4D6CEF4-40C4-4638-81CA-9613FE32BBE2}" type="pres">
      <dgm:prSet presAssocID="{56B9A564-6B12-4590-BD7E-06560714E051}" presName="sp" presStyleCnt="0"/>
      <dgm:spPr/>
    </dgm:pt>
    <dgm:pt modelId="{710B8A1A-F417-4202-8BB0-594C41E8E479}" type="pres">
      <dgm:prSet presAssocID="{1AD1122B-60F1-4A5C-9C82-BD14FCB96104}" presName="linNode" presStyleCnt="0"/>
      <dgm:spPr/>
    </dgm:pt>
    <dgm:pt modelId="{3FBD8C8D-3A67-4BFF-B68F-C1F6AFAFF028}" type="pres">
      <dgm:prSet presAssocID="{1AD1122B-60F1-4A5C-9C82-BD14FCB96104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8F3D9620-C142-4D5E-8E94-8E7937164E25}" type="pres">
      <dgm:prSet presAssocID="{1AD1122B-60F1-4A5C-9C82-BD14FCB96104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C64FAA01-FB95-484C-8BD5-5555042BC625}" type="presOf" srcId="{E902FAAE-448C-46B6-A6B9-921E05F3657F}" destId="{79FFA976-44D6-40FD-A523-3E86F7A56190}" srcOrd="0" destOrd="0" presId="urn:microsoft.com/office/officeart/2005/8/layout/vList5"/>
    <dgm:cxn modelId="{3D0C0005-0727-428E-AC68-DE6943F14386}" srcId="{87AD3F51-A014-40AD-BC4C-3A88F24F3CF6}" destId="{C9E03FC9-B9D6-4763-980B-4907B54CD232}" srcOrd="0" destOrd="0" parTransId="{498CE933-C3A7-49FF-8159-9039D2AE587F}" sibTransId="{E1BF1E40-84FD-484D-9F1E-D154D6F3719B}"/>
    <dgm:cxn modelId="{63913B09-4014-4752-9624-E9BC3A07E9F0}" type="presOf" srcId="{755A0488-115B-4059-9E0C-BB215709842B}" destId="{8F3D9620-C142-4D5E-8E94-8E7937164E25}" srcOrd="0" destOrd="2" presId="urn:microsoft.com/office/officeart/2005/8/layout/vList5"/>
    <dgm:cxn modelId="{1C387A0A-AE2C-4E6B-B5C5-8C304C46B782}" type="presOf" srcId="{C9E03FC9-B9D6-4763-980B-4907B54CD232}" destId="{2E7D77E4-212D-4F71-A408-E1AE3264BF3E}" srcOrd="0" destOrd="0" presId="urn:microsoft.com/office/officeart/2005/8/layout/vList5"/>
    <dgm:cxn modelId="{5D2F121E-F176-48F7-BF2D-46AC46B6E727}" srcId="{1AD1122B-60F1-4A5C-9C82-BD14FCB96104}" destId="{AFE17222-3615-40FD-95BD-708D9A35CFD2}" srcOrd="1" destOrd="0" parTransId="{2250C4D8-24AC-431C-87E1-53069DEAE2A7}" sibTransId="{23D5BB5C-F64F-4D1B-AAB2-5B21CD36F2EB}"/>
    <dgm:cxn modelId="{5E67B51F-334D-4444-B35E-25E784803149}" type="presOf" srcId="{1AD1122B-60F1-4A5C-9C82-BD14FCB96104}" destId="{3FBD8C8D-3A67-4BFF-B68F-C1F6AFAFF028}" srcOrd="0" destOrd="0" presId="urn:microsoft.com/office/officeart/2005/8/layout/vList5"/>
    <dgm:cxn modelId="{EC00BC2B-F398-453F-916C-6D8ED45EDEFE}" srcId="{AD41EF4C-87F1-487F-9667-FE5827ABD00D}" destId="{6FB44D31-42C9-4180-83BA-BC72CB78CD30}" srcOrd="2" destOrd="0" parTransId="{00690AC1-5E3B-4CB2-9261-0DF9E6F21D0C}" sibTransId="{BE996BAC-E393-414D-BCD0-DE4E3619C539}"/>
    <dgm:cxn modelId="{0BFD1832-EDD6-4679-930E-6D1CC32E9650}" srcId="{C9E03FC9-B9D6-4763-980B-4907B54CD232}" destId="{F3854A14-E43F-4331-9AD4-84E67A36AD3B}" srcOrd="0" destOrd="0" parTransId="{CBA90D48-9CA4-4CB3-AF7A-F20254DEBF83}" sibTransId="{2C06625F-099D-48D0-93CB-2F7C85928ED0}"/>
    <dgm:cxn modelId="{8BA60538-AC1B-4891-AC23-BAAE98675CD8}" type="presOf" srcId="{CAF2E7DD-36CA-4720-848A-15BF039A075E}" destId="{6467D6E5-48A6-4C00-BA23-04A982621B2C}" srcOrd="0" destOrd="1" presId="urn:microsoft.com/office/officeart/2005/8/layout/vList5"/>
    <dgm:cxn modelId="{73058265-B66A-4EA2-87BD-5EC84BF1F7A7}" srcId="{AD41EF4C-87F1-487F-9667-FE5827ABD00D}" destId="{1633BBF8-83B7-47A9-9158-C083BC316818}" srcOrd="0" destOrd="0" parTransId="{8413C5D0-1E29-40A7-ACE7-31B2DC1003FB}" sibTransId="{0316AB35-84A7-4054-8483-F6D8583C9B1F}"/>
    <dgm:cxn modelId="{B239224F-EB45-4F72-87CD-5006D2DC12FA}" type="presOf" srcId="{AFE17222-3615-40FD-95BD-708D9A35CFD2}" destId="{8F3D9620-C142-4D5E-8E94-8E7937164E25}" srcOrd="0" destOrd="1" presId="urn:microsoft.com/office/officeart/2005/8/layout/vList5"/>
    <dgm:cxn modelId="{C2483D72-579A-4630-853F-697AA5B44938}" type="presOf" srcId="{B825934D-AD58-4088-9712-17E36A9C843F}" destId="{9357106D-CE19-4D67-850C-7C948663B6FD}" srcOrd="0" destOrd="0" presId="urn:microsoft.com/office/officeart/2005/8/layout/vList5"/>
    <dgm:cxn modelId="{13679352-762C-4B16-B81E-3C99670812A6}" srcId="{1AD1122B-60F1-4A5C-9C82-BD14FCB96104}" destId="{8B591486-A654-4BBE-81CD-A60F6E6DDA61}" srcOrd="0" destOrd="0" parTransId="{9DC07E68-409D-4F71-AE5A-57B519760209}" sibTransId="{56FA0BF3-4263-4556-A1C5-EB07C918C613}"/>
    <dgm:cxn modelId="{969D8A77-1F20-48F3-8976-2314FB40763A}" srcId="{AD41EF4C-87F1-487F-9667-FE5827ABD00D}" destId="{CAF2E7DD-36CA-4720-848A-15BF039A075E}" srcOrd="1" destOrd="0" parTransId="{71E71D5A-1B16-466B-8916-F07DA83A3A3B}" sibTransId="{DEEAB1CB-80B7-4D43-8F4A-6EED55E15180}"/>
    <dgm:cxn modelId="{6CB6327A-C549-4115-B2CB-C3AC55007A9F}" type="presOf" srcId="{1633BBF8-83B7-47A9-9158-C083BC316818}" destId="{6467D6E5-48A6-4C00-BA23-04A982621B2C}" srcOrd="0" destOrd="0" presId="urn:microsoft.com/office/officeart/2005/8/layout/vList5"/>
    <dgm:cxn modelId="{1EF1D888-1266-451E-BB31-97450BB22CF9}" type="presOf" srcId="{6FB44D31-42C9-4180-83BA-BC72CB78CD30}" destId="{6467D6E5-48A6-4C00-BA23-04A982621B2C}" srcOrd="0" destOrd="2" presId="urn:microsoft.com/office/officeart/2005/8/layout/vList5"/>
    <dgm:cxn modelId="{C02AEA9B-BA77-4FE1-94F7-C81885FB3B00}" type="presOf" srcId="{8B591486-A654-4BBE-81CD-A60F6E6DDA61}" destId="{8F3D9620-C142-4D5E-8E94-8E7937164E25}" srcOrd="0" destOrd="0" presId="urn:microsoft.com/office/officeart/2005/8/layout/vList5"/>
    <dgm:cxn modelId="{14592CB1-68EA-4DD2-B5DB-EF9D1CADF0C4}" type="presOf" srcId="{AD41EF4C-87F1-487F-9667-FE5827ABD00D}" destId="{EC0F9832-5648-4D41-98D6-D9E72DB3E1C6}" srcOrd="0" destOrd="0" presId="urn:microsoft.com/office/officeart/2005/8/layout/vList5"/>
    <dgm:cxn modelId="{F54AB2B1-A0F1-4AB2-BE8A-C1821C3F8B1B}" type="presOf" srcId="{87AD3F51-A014-40AD-BC4C-3A88F24F3CF6}" destId="{3BDC866B-6397-49DE-9B52-95461A3C80B1}" srcOrd="0" destOrd="0" presId="urn:microsoft.com/office/officeart/2005/8/layout/vList5"/>
    <dgm:cxn modelId="{A94D26BB-BACD-47B5-A333-297794B6F815}" srcId="{87AD3F51-A014-40AD-BC4C-3A88F24F3CF6}" destId="{E902FAAE-448C-46B6-A6B9-921E05F3657F}" srcOrd="1" destOrd="0" parTransId="{8AF873CC-AD6A-47B8-B786-7CA8F480BDC7}" sibTransId="{B71BD8A3-9D78-4EB7-8E80-B51CBB607544}"/>
    <dgm:cxn modelId="{3FE021C9-BA8C-4DF3-8FFE-F0F9E9909AD9}" type="presOf" srcId="{F3854A14-E43F-4331-9AD4-84E67A36AD3B}" destId="{97D26DEE-1D0D-4643-8E4C-868C7206F4C0}" srcOrd="0" destOrd="0" presId="urn:microsoft.com/office/officeart/2005/8/layout/vList5"/>
    <dgm:cxn modelId="{F3511CDF-EAFA-41C9-8134-DB143429DF3C}" srcId="{87AD3F51-A014-40AD-BC4C-3A88F24F3CF6}" destId="{1AD1122B-60F1-4A5C-9C82-BD14FCB96104}" srcOrd="3" destOrd="0" parTransId="{142199D7-2C34-408F-8E52-94865DD14222}" sibTransId="{51839CEC-9305-4706-8B94-B52A01C46FF2}"/>
    <dgm:cxn modelId="{83A49DE4-8132-47A5-8BB0-735A8BCF3A50}" srcId="{87AD3F51-A014-40AD-BC4C-3A88F24F3CF6}" destId="{AD41EF4C-87F1-487F-9667-FE5827ABD00D}" srcOrd="2" destOrd="0" parTransId="{E3425D67-EA7F-422B-95DB-6BD82EE58EA1}" sibTransId="{56B9A564-6B12-4590-BD7E-06560714E051}"/>
    <dgm:cxn modelId="{28C6D4F7-A5B0-4D2C-AF80-91586D499DBF}" srcId="{1AD1122B-60F1-4A5C-9C82-BD14FCB96104}" destId="{755A0488-115B-4059-9E0C-BB215709842B}" srcOrd="2" destOrd="0" parTransId="{4A354AFD-EF8E-4FFF-9F44-45D386A2B26F}" sibTransId="{E00D882B-D579-4618-819E-A7E56867F8C7}"/>
    <dgm:cxn modelId="{5D5B88F9-D349-4A40-AA6B-F62045FFB978}" srcId="{E902FAAE-448C-46B6-A6B9-921E05F3657F}" destId="{B825934D-AD58-4088-9712-17E36A9C843F}" srcOrd="0" destOrd="0" parTransId="{3F9C8532-2A87-43C4-A943-EA33233F4D6B}" sibTransId="{5866981B-BEB2-4E22-AED9-916DB26F4B9E}"/>
    <dgm:cxn modelId="{60B4393A-BC79-406F-A543-1B5C69E163A7}" type="presParOf" srcId="{3BDC866B-6397-49DE-9B52-95461A3C80B1}" destId="{996E36D2-B27B-4BEB-80AF-BA32663DDF7D}" srcOrd="0" destOrd="0" presId="urn:microsoft.com/office/officeart/2005/8/layout/vList5"/>
    <dgm:cxn modelId="{96024ABE-C08B-4AE6-95B2-F62F29C5E2B6}" type="presParOf" srcId="{996E36D2-B27B-4BEB-80AF-BA32663DDF7D}" destId="{2E7D77E4-212D-4F71-A408-E1AE3264BF3E}" srcOrd="0" destOrd="0" presId="urn:microsoft.com/office/officeart/2005/8/layout/vList5"/>
    <dgm:cxn modelId="{F832E1B7-94C6-437D-9748-FD67382C7922}" type="presParOf" srcId="{996E36D2-B27B-4BEB-80AF-BA32663DDF7D}" destId="{97D26DEE-1D0D-4643-8E4C-868C7206F4C0}" srcOrd="1" destOrd="0" presId="urn:microsoft.com/office/officeart/2005/8/layout/vList5"/>
    <dgm:cxn modelId="{D2B190B0-239D-4F8B-901B-B0FBD9A3CABA}" type="presParOf" srcId="{3BDC866B-6397-49DE-9B52-95461A3C80B1}" destId="{67DAA08F-99E2-49BF-AEB8-5C9DE26D9902}" srcOrd="1" destOrd="0" presId="urn:microsoft.com/office/officeart/2005/8/layout/vList5"/>
    <dgm:cxn modelId="{DD6F66FD-E6A0-4A44-9B2E-F69BC8462C80}" type="presParOf" srcId="{3BDC866B-6397-49DE-9B52-95461A3C80B1}" destId="{0285514E-1134-4561-9DD9-ABFB9781C87E}" srcOrd="2" destOrd="0" presId="urn:microsoft.com/office/officeart/2005/8/layout/vList5"/>
    <dgm:cxn modelId="{BD991D89-9CF0-4D07-AE27-9BE65B76E588}" type="presParOf" srcId="{0285514E-1134-4561-9DD9-ABFB9781C87E}" destId="{79FFA976-44D6-40FD-A523-3E86F7A56190}" srcOrd="0" destOrd="0" presId="urn:microsoft.com/office/officeart/2005/8/layout/vList5"/>
    <dgm:cxn modelId="{81D4E65F-2CC8-4F41-8D23-ADBE817B90FE}" type="presParOf" srcId="{0285514E-1134-4561-9DD9-ABFB9781C87E}" destId="{9357106D-CE19-4D67-850C-7C948663B6FD}" srcOrd="1" destOrd="0" presId="urn:microsoft.com/office/officeart/2005/8/layout/vList5"/>
    <dgm:cxn modelId="{3FD7DEEB-7CF9-454C-88CB-AF379682E11B}" type="presParOf" srcId="{3BDC866B-6397-49DE-9B52-95461A3C80B1}" destId="{68CDA6FE-016B-4ACC-B5A3-2AD5358BD4C0}" srcOrd="3" destOrd="0" presId="urn:microsoft.com/office/officeart/2005/8/layout/vList5"/>
    <dgm:cxn modelId="{094BF370-5C3E-4829-8BF6-55F40F721624}" type="presParOf" srcId="{3BDC866B-6397-49DE-9B52-95461A3C80B1}" destId="{452BC5E3-DFEE-4353-9E47-B37DA5D666CC}" srcOrd="4" destOrd="0" presId="urn:microsoft.com/office/officeart/2005/8/layout/vList5"/>
    <dgm:cxn modelId="{8C0B79EC-4930-4F8D-A41F-FBA94F1859AE}" type="presParOf" srcId="{452BC5E3-DFEE-4353-9E47-B37DA5D666CC}" destId="{EC0F9832-5648-4D41-98D6-D9E72DB3E1C6}" srcOrd="0" destOrd="0" presId="urn:microsoft.com/office/officeart/2005/8/layout/vList5"/>
    <dgm:cxn modelId="{0BDC804C-D893-4196-B5C0-E21F9980472A}" type="presParOf" srcId="{452BC5E3-DFEE-4353-9E47-B37DA5D666CC}" destId="{6467D6E5-48A6-4C00-BA23-04A982621B2C}" srcOrd="1" destOrd="0" presId="urn:microsoft.com/office/officeart/2005/8/layout/vList5"/>
    <dgm:cxn modelId="{7E6F1745-8767-4D08-9A49-99E7A2C4DED3}" type="presParOf" srcId="{3BDC866B-6397-49DE-9B52-95461A3C80B1}" destId="{D4D6CEF4-40C4-4638-81CA-9613FE32BBE2}" srcOrd="5" destOrd="0" presId="urn:microsoft.com/office/officeart/2005/8/layout/vList5"/>
    <dgm:cxn modelId="{3359E9E5-39C1-43DD-A97C-D33B87EF1889}" type="presParOf" srcId="{3BDC866B-6397-49DE-9B52-95461A3C80B1}" destId="{710B8A1A-F417-4202-8BB0-594C41E8E479}" srcOrd="6" destOrd="0" presId="urn:microsoft.com/office/officeart/2005/8/layout/vList5"/>
    <dgm:cxn modelId="{F7BB2ED6-4287-414F-B28E-790BDC39977B}" type="presParOf" srcId="{710B8A1A-F417-4202-8BB0-594C41E8E479}" destId="{3FBD8C8D-3A67-4BFF-B68F-C1F6AFAFF028}" srcOrd="0" destOrd="0" presId="urn:microsoft.com/office/officeart/2005/8/layout/vList5"/>
    <dgm:cxn modelId="{711E66BA-5CF1-4A69-85CF-C928C14EFB0F}" type="presParOf" srcId="{710B8A1A-F417-4202-8BB0-594C41E8E479}" destId="{8F3D9620-C142-4D5E-8E94-8E7937164E2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BCA23D20-4370-423B-B320-9AA580197A01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D97ED0F-75EB-4202-9800-4668CE711E4D}">
      <dgm:prSet custT="1"/>
      <dgm:spPr/>
      <dgm:t>
        <a:bodyPr/>
        <a:lstStyle/>
        <a:p>
          <a:r>
            <a:rPr lang="en-US" sz="2800" baseline="0" dirty="0"/>
            <a:t>GLS snapshot to be regenerated for each Test</a:t>
          </a:r>
          <a:endParaRPr lang="en-IN" sz="2800" baseline="0" dirty="0"/>
        </a:p>
      </dgm:t>
    </dgm:pt>
    <dgm:pt modelId="{22612233-391C-4129-B292-D0A82D44AF9C}" type="parTrans" cxnId="{476AE14C-8344-40C8-889E-3A31CED445A0}">
      <dgm:prSet/>
      <dgm:spPr/>
      <dgm:t>
        <a:bodyPr/>
        <a:lstStyle/>
        <a:p>
          <a:endParaRPr lang="en-IN"/>
        </a:p>
      </dgm:t>
    </dgm:pt>
    <dgm:pt modelId="{1F6F856C-9B48-4BAD-B03A-D8C04D65F528}" type="sibTrans" cxnId="{476AE14C-8344-40C8-889E-3A31CED445A0}">
      <dgm:prSet/>
      <dgm:spPr/>
      <dgm:t>
        <a:bodyPr/>
        <a:lstStyle/>
        <a:p>
          <a:endParaRPr lang="en-IN"/>
        </a:p>
      </dgm:t>
    </dgm:pt>
    <dgm:pt modelId="{9A0441BC-5390-4008-815A-AA620DB8633F}" type="pres">
      <dgm:prSet presAssocID="{BCA23D20-4370-423B-B320-9AA580197A01}" presName="linear" presStyleCnt="0">
        <dgm:presLayoutVars>
          <dgm:animLvl val="lvl"/>
          <dgm:resizeHandles val="exact"/>
        </dgm:presLayoutVars>
      </dgm:prSet>
      <dgm:spPr/>
    </dgm:pt>
    <dgm:pt modelId="{EE2541DB-A30A-483E-BD7B-B897C7A0B77C}" type="pres">
      <dgm:prSet presAssocID="{CD97ED0F-75EB-4202-9800-4668CE711E4D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476AE14C-8344-40C8-889E-3A31CED445A0}" srcId="{BCA23D20-4370-423B-B320-9AA580197A01}" destId="{CD97ED0F-75EB-4202-9800-4668CE711E4D}" srcOrd="0" destOrd="0" parTransId="{22612233-391C-4129-B292-D0A82D44AF9C}" sibTransId="{1F6F856C-9B48-4BAD-B03A-D8C04D65F528}"/>
    <dgm:cxn modelId="{33153BB8-22B6-4EF6-A5AC-A7074AE4417E}" type="presOf" srcId="{BCA23D20-4370-423B-B320-9AA580197A01}" destId="{9A0441BC-5390-4008-815A-AA620DB8633F}" srcOrd="0" destOrd="0" presId="urn:microsoft.com/office/officeart/2005/8/layout/vList2"/>
    <dgm:cxn modelId="{D04200BE-DDDA-42BE-AC03-C2AA79CD0DC5}" type="presOf" srcId="{CD97ED0F-75EB-4202-9800-4668CE711E4D}" destId="{EE2541DB-A30A-483E-BD7B-B897C7A0B77C}" srcOrd="0" destOrd="0" presId="urn:microsoft.com/office/officeart/2005/8/layout/vList2"/>
    <dgm:cxn modelId="{867CEDF6-2B77-4C7B-9BDE-B2F3B52AFF77}" type="presParOf" srcId="{9A0441BC-5390-4008-815A-AA620DB8633F}" destId="{EE2541DB-A30A-483E-BD7B-B897C7A0B77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ED8D412-197E-4416-AE6B-F9307051A126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FBAC1AD-C6AE-4255-8965-E38254F23A01}">
      <dgm:prSet custT="1"/>
      <dgm:spPr/>
      <dgm:t>
        <a:bodyPr/>
        <a:lstStyle/>
        <a:p>
          <a:r>
            <a:rPr lang="en-IN" sz="2800" dirty="0"/>
            <a:t>Data integrity checks done using assertions</a:t>
          </a:r>
        </a:p>
        <a:p>
          <a:r>
            <a:rPr lang="en-IN" sz="2800" dirty="0"/>
            <a:t>Not done with VIP’s and SB</a:t>
          </a:r>
        </a:p>
      </dgm:t>
    </dgm:pt>
    <dgm:pt modelId="{9ECE151F-5CE2-480D-B0A0-A8934E157B63}" type="parTrans" cxnId="{29F54A1A-B7E8-4B49-8800-E9CDB292EFE8}">
      <dgm:prSet/>
      <dgm:spPr/>
      <dgm:t>
        <a:bodyPr/>
        <a:lstStyle/>
        <a:p>
          <a:endParaRPr lang="en-IN"/>
        </a:p>
      </dgm:t>
    </dgm:pt>
    <dgm:pt modelId="{435BB337-057D-4198-BD9E-5B2EEB88951A}" type="sibTrans" cxnId="{29F54A1A-B7E8-4B49-8800-E9CDB292EFE8}">
      <dgm:prSet/>
      <dgm:spPr/>
      <dgm:t>
        <a:bodyPr/>
        <a:lstStyle/>
        <a:p>
          <a:endParaRPr lang="en-IN"/>
        </a:p>
      </dgm:t>
    </dgm:pt>
    <dgm:pt modelId="{3373C796-9435-4F56-A618-FDD0D5171549}" type="pres">
      <dgm:prSet presAssocID="{0ED8D412-197E-4416-AE6B-F9307051A126}" presName="linear" presStyleCnt="0">
        <dgm:presLayoutVars>
          <dgm:animLvl val="lvl"/>
          <dgm:resizeHandles val="exact"/>
        </dgm:presLayoutVars>
      </dgm:prSet>
      <dgm:spPr/>
    </dgm:pt>
    <dgm:pt modelId="{AE62CB70-8B78-4726-9A7A-E0D915C9A503}" type="pres">
      <dgm:prSet presAssocID="{BFBAC1AD-C6AE-4255-8965-E38254F23A01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29F54A1A-B7E8-4B49-8800-E9CDB292EFE8}" srcId="{0ED8D412-197E-4416-AE6B-F9307051A126}" destId="{BFBAC1AD-C6AE-4255-8965-E38254F23A01}" srcOrd="0" destOrd="0" parTransId="{9ECE151F-5CE2-480D-B0A0-A8934E157B63}" sibTransId="{435BB337-057D-4198-BD9E-5B2EEB88951A}"/>
    <dgm:cxn modelId="{C05128CC-7CC7-46ED-B0E9-01690553F854}" type="presOf" srcId="{BFBAC1AD-C6AE-4255-8965-E38254F23A01}" destId="{AE62CB70-8B78-4726-9A7A-E0D915C9A503}" srcOrd="0" destOrd="0" presId="urn:microsoft.com/office/officeart/2005/8/layout/vList2"/>
    <dgm:cxn modelId="{C677F3D4-6B07-4AD4-94A7-05CEA5454E67}" type="presOf" srcId="{0ED8D412-197E-4416-AE6B-F9307051A126}" destId="{3373C796-9435-4F56-A618-FDD0D5171549}" srcOrd="0" destOrd="0" presId="urn:microsoft.com/office/officeart/2005/8/layout/vList2"/>
    <dgm:cxn modelId="{66263483-17F4-4B36-89E0-FED8D153C772}" type="presParOf" srcId="{3373C796-9435-4F56-A618-FDD0D5171549}" destId="{AE62CB70-8B78-4726-9A7A-E0D915C9A50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5352314-95CB-409A-B0BD-E7E0F4B1CCB9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B80578F2-A4CA-4673-BB3C-4B263A7AC8E4}">
      <dgm:prSet custT="1"/>
      <dgm:spPr/>
      <dgm:t>
        <a:bodyPr/>
        <a:lstStyle/>
        <a:p>
          <a:pPr algn="ctr"/>
          <a:r>
            <a:rPr lang="en-US" sz="4400" dirty="0">
              <a:latin typeface="+mj-lt"/>
            </a:rPr>
            <a:t>Thank you!</a:t>
          </a:r>
          <a:endParaRPr lang="en-IN" sz="4400" dirty="0">
            <a:latin typeface="+mj-lt"/>
          </a:endParaRPr>
        </a:p>
      </dgm:t>
    </dgm:pt>
    <dgm:pt modelId="{7678897C-4E2A-40F5-B954-9DA39216AC28}" type="parTrans" cxnId="{A1EE0328-BBCA-46DE-B279-3B5C2FE99D46}">
      <dgm:prSet/>
      <dgm:spPr/>
      <dgm:t>
        <a:bodyPr/>
        <a:lstStyle/>
        <a:p>
          <a:endParaRPr lang="en-IN"/>
        </a:p>
      </dgm:t>
    </dgm:pt>
    <dgm:pt modelId="{688D1998-14D8-43C3-8AA9-E56518DF1EB0}" type="sibTrans" cxnId="{A1EE0328-BBCA-46DE-B279-3B5C2FE99D46}">
      <dgm:prSet/>
      <dgm:spPr/>
      <dgm:t>
        <a:bodyPr/>
        <a:lstStyle/>
        <a:p>
          <a:endParaRPr lang="en-IN"/>
        </a:p>
      </dgm:t>
    </dgm:pt>
    <dgm:pt modelId="{CBF5835D-DFEF-4FC8-829C-55E7268A5B00}" type="pres">
      <dgm:prSet presAssocID="{45352314-95CB-409A-B0BD-E7E0F4B1CCB9}" presName="linear" presStyleCnt="0">
        <dgm:presLayoutVars>
          <dgm:animLvl val="lvl"/>
          <dgm:resizeHandles val="exact"/>
        </dgm:presLayoutVars>
      </dgm:prSet>
      <dgm:spPr/>
    </dgm:pt>
    <dgm:pt modelId="{1893E617-462E-4643-92BC-CA709472F1AA}" type="pres">
      <dgm:prSet presAssocID="{B80578F2-A4CA-4673-BB3C-4B263A7AC8E4}" presName="parentText" presStyleLbl="node1" presStyleIdx="0" presStyleCnt="1" custScaleY="102650">
        <dgm:presLayoutVars>
          <dgm:chMax val="0"/>
          <dgm:bulletEnabled val="1"/>
        </dgm:presLayoutVars>
      </dgm:prSet>
      <dgm:spPr/>
    </dgm:pt>
  </dgm:ptLst>
  <dgm:cxnLst>
    <dgm:cxn modelId="{A1EE0328-BBCA-46DE-B279-3B5C2FE99D46}" srcId="{45352314-95CB-409A-B0BD-E7E0F4B1CCB9}" destId="{B80578F2-A4CA-4673-BB3C-4B263A7AC8E4}" srcOrd="0" destOrd="0" parTransId="{7678897C-4E2A-40F5-B954-9DA39216AC28}" sibTransId="{688D1998-14D8-43C3-8AA9-E56518DF1EB0}"/>
    <dgm:cxn modelId="{8D02387C-9720-4FA9-B447-CB1F7E76A8EF}" type="presOf" srcId="{B80578F2-A4CA-4673-BB3C-4B263A7AC8E4}" destId="{1893E617-462E-4643-92BC-CA709472F1AA}" srcOrd="0" destOrd="0" presId="urn:microsoft.com/office/officeart/2005/8/layout/vList2"/>
    <dgm:cxn modelId="{2A458B8F-AA37-43C1-BDE6-020122AC9564}" type="presOf" srcId="{45352314-95CB-409A-B0BD-E7E0F4B1CCB9}" destId="{CBF5835D-DFEF-4FC8-829C-55E7268A5B00}" srcOrd="0" destOrd="0" presId="urn:microsoft.com/office/officeart/2005/8/layout/vList2"/>
    <dgm:cxn modelId="{C9680C44-96BF-47F0-B0C5-0A2AFE3D6DD3}" type="presParOf" srcId="{CBF5835D-DFEF-4FC8-829C-55E7268A5B00}" destId="{1893E617-462E-4643-92BC-CA709472F1A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5E33771-DB81-4371-83A2-881C5505D835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ED5D7C0F-197E-43DF-938E-47C7E739D3E9}">
      <dgm:prSet custT="1"/>
      <dgm:spPr/>
      <dgm:t>
        <a:bodyPr/>
        <a:lstStyle/>
        <a:p>
          <a:r>
            <a:rPr lang="en-IN" sz="2000" dirty="0"/>
            <a:t>Generate standalone TB</a:t>
          </a:r>
        </a:p>
      </dgm:t>
    </dgm:pt>
    <dgm:pt modelId="{FD2C13C2-914F-493C-8686-F2C443BD9110}" type="parTrans" cxnId="{E7B878CD-B890-4F35-842B-79405132B5DE}">
      <dgm:prSet/>
      <dgm:spPr/>
      <dgm:t>
        <a:bodyPr/>
        <a:lstStyle/>
        <a:p>
          <a:endParaRPr lang="en-IN"/>
        </a:p>
      </dgm:t>
    </dgm:pt>
    <dgm:pt modelId="{822879B7-42D4-43A7-A40A-4B9CE3C09D0B}" type="sibTrans" cxnId="{E7B878CD-B890-4F35-842B-79405132B5DE}">
      <dgm:prSet/>
      <dgm:spPr/>
      <dgm:t>
        <a:bodyPr/>
        <a:lstStyle/>
        <a:p>
          <a:endParaRPr lang="en-IN"/>
        </a:p>
      </dgm:t>
    </dgm:pt>
    <dgm:pt modelId="{B304A482-8A77-4364-A962-09D4AB247A5B}">
      <dgm:prSet custT="1"/>
      <dgm:spPr/>
      <dgm:t>
        <a:bodyPr/>
        <a:lstStyle/>
        <a:p>
          <a:r>
            <a:rPr lang="en-IN" sz="2000" dirty="0"/>
            <a:t>Replay stimulus from RTL tests</a:t>
          </a:r>
        </a:p>
      </dgm:t>
    </dgm:pt>
    <dgm:pt modelId="{B097DA27-8526-481B-B6A0-08EF3105DDFD}" type="parTrans" cxnId="{180185CA-2F27-4B33-884B-CA3CB657EEC1}">
      <dgm:prSet/>
      <dgm:spPr/>
      <dgm:t>
        <a:bodyPr/>
        <a:lstStyle/>
        <a:p>
          <a:endParaRPr lang="en-IN"/>
        </a:p>
      </dgm:t>
    </dgm:pt>
    <dgm:pt modelId="{4B752545-5E24-46ED-AB23-2B1428355E5A}" type="sibTrans" cxnId="{180185CA-2F27-4B33-884B-CA3CB657EEC1}">
      <dgm:prSet/>
      <dgm:spPr/>
      <dgm:t>
        <a:bodyPr/>
        <a:lstStyle/>
        <a:p>
          <a:endParaRPr lang="en-IN"/>
        </a:p>
      </dgm:t>
    </dgm:pt>
    <dgm:pt modelId="{42836751-DF43-48E7-A73A-E38C2F1C69F3}">
      <dgm:prSet custT="1"/>
      <dgm:spPr/>
      <dgm:t>
        <a:bodyPr/>
        <a:lstStyle/>
        <a:p>
          <a:r>
            <a:rPr lang="en-IN" sz="2000" dirty="0"/>
            <a:t>Perform timing &amp; functional checks</a:t>
          </a:r>
        </a:p>
      </dgm:t>
    </dgm:pt>
    <dgm:pt modelId="{1BC2E9F5-98A2-46E7-B44D-41FABF77C4A3}" type="parTrans" cxnId="{7A997377-570E-41B1-BFA5-416D3CB8FD65}">
      <dgm:prSet/>
      <dgm:spPr/>
      <dgm:t>
        <a:bodyPr/>
        <a:lstStyle/>
        <a:p>
          <a:endParaRPr lang="en-IN"/>
        </a:p>
      </dgm:t>
    </dgm:pt>
    <dgm:pt modelId="{78FD37C0-8B59-4727-9A52-31DABFF947E4}" type="sibTrans" cxnId="{7A997377-570E-41B1-BFA5-416D3CB8FD65}">
      <dgm:prSet/>
      <dgm:spPr/>
      <dgm:t>
        <a:bodyPr/>
        <a:lstStyle/>
        <a:p>
          <a:endParaRPr lang="en-IN"/>
        </a:p>
      </dgm:t>
    </dgm:pt>
    <dgm:pt modelId="{F57C8594-1820-41B1-958D-273AD6895BC6}" type="pres">
      <dgm:prSet presAssocID="{E5E33771-DB81-4371-83A2-881C5505D835}" presName="CompostProcess" presStyleCnt="0">
        <dgm:presLayoutVars>
          <dgm:dir/>
          <dgm:resizeHandles val="exact"/>
        </dgm:presLayoutVars>
      </dgm:prSet>
      <dgm:spPr/>
    </dgm:pt>
    <dgm:pt modelId="{7DA87D4D-95F7-4E03-92E1-AEFBC53F89C3}" type="pres">
      <dgm:prSet presAssocID="{E5E33771-DB81-4371-83A2-881C5505D835}" presName="arrow" presStyleLbl="bgShp" presStyleIdx="0" presStyleCnt="1"/>
      <dgm:spPr/>
    </dgm:pt>
    <dgm:pt modelId="{B3C95656-6E0F-4F14-9A64-AD1D00F53375}" type="pres">
      <dgm:prSet presAssocID="{E5E33771-DB81-4371-83A2-881C5505D835}" presName="linearProcess" presStyleCnt="0"/>
      <dgm:spPr/>
    </dgm:pt>
    <dgm:pt modelId="{6A7B2B9A-A8E7-47F8-8C72-60B7E391145A}" type="pres">
      <dgm:prSet presAssocID="{ED5D7C0F-197E-43DF-938E-47C7E739D3E9}" presName="textNode" presStyleLbl="node1" presStyleIdx="0" presStyleCnt="3" custScaleX="88754">
        <dgm:presLayoutVars>
          <dgm:bulletEnabled val="1"/>
        </dgm:presLayoutVars>
      </dgm:prSet>
      <dgm:spPr/>
    </dgm:pt>
    <dgm:pt modelId="{76F19027-0EB7-4879-BB36-B9B735EA940A}" type="pres">
      <dgm:prSet presAssocID="{822879B7-42D4-43A7-A40A-4B9CE3C09D0B}" presName="sibTrans" presStyleCnt="0"/>
      <dgm:spPr/>
    </dgm:pt>
    <dgm:pt modelId="{6882F6BF-7976-4D03-B328-ADB20A5C76B7}" type="pres">
      <dgm:prSet presAssocID="{B304A482-8A77-4364-A962-09D4AB247A5B}" presName="textNode" presStyleLbl="node1" presStyleIdx="1" presStyleCnt="3" custScaleX="93700">
        <dgm:presLayoutVars>
          <dgm:bulletEnabled val="1"/>
        </dgm:presLayoutVars>
      </dgm:prSet>
      <dgm:spPr/>
    </dgm:pt>
    <dgm:pt modelId="{6E242C73-968A-4313-89F3-A18E388B7A7D}" type="pres">
      <dgm:prSet presAssocID="{4B752545-5E24-46ED-AB23-2B1428355E5A}" presName="sibTrans" presStyleCnt="0"/>
      <dgm:spPr/>
    </dgm:pt>
    <dgm:pt modelId="{679E1D92-3741-4815-B8B3-14CECE19A67F}" type="pres">
      <dgm:prSet presAssocID="{42836751-DF43-48E7-A73A-E38C2F1C69F3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AFBB2C01-B865-4D1D-AAA7-97A976054DC9}" type="presOf" srcId="{B304A482-8A77-4364-A962-09D4AB247A5B}" destId="{6882F6BF-7976-4D03-B328-ADB20A5C76B7}" srcOrd="0" destOrd="0" presId="urn:microsoft.com/office/officeart/2005/8/layout/hProcess9"/>
    <dgm:cxn modelId="{D94B3529-EBD8-4453-B554-730DE4D3B6A2}" type="presOf" srcId="{42836751-DF43-48E7-A73A-E38C2F1C69F3}" destId="{679E1D92-3741-4815-B8B3-14CECE19A67F}" srcOrd="0" destOrd="0" presId="urn:microsoft.com/office/officeart/2005/8/layout/hProcess9"/>
    <dgm:cxn modelId="{7A997377-570E-41B1-BFA5-416D3CB8FD65}" srcId="{E5E33771-DB81-4371-83A2-881C5505D835}" destId="{42836751-DF43-48E7-A73A-E38C2F1C69F3}" srcOrd="2" destOrd="0" parTransId="{1BC2E9F5-98A2-46E7-B44D-41FABF77C4A3}" sibTransId="{78FD37C0-8B59-4727-9A52-31DABFF947E4}"/>
    <dgm:cxn modelId="{3BD5B68E-3785-4DB4-9E7B-E6DC2BF0D97D}" type="presOf" srcId="{ED5D7C0F-197E-43DF-938E-47C7E739D3E9}" destId="{6A7B2B9A-A8E7-47F8-8C72-60B7E391145A}" srcOrd="0" destOrd="0" presId="urn:microsoft.com/office/officeart/2005/8/layout/hProcess9"/>
    <dgm:cxn modelId="{180185CA-2F27-4B33-884B-CA3CB657EEC1}" srcId="{E5E33771-DB81-4371-83A2-881C5505D835}" destId="{B304A482-8A77-4364-A962-09D4AB247A5B}" srcOrd="1" destOrd="0" parTransId="{B097DA27-8526-481B-B6A0-08EF3105DDFD}" sibTransId="{4B752545-5E24-46ED-AB23-2B1428355E5A}"/>
    <dgm:cxn modelId="{E7B878CD-B890-4F35-842B-79405132B5DE}" srcId="{E5E33771-DB81-4371-83A2-881C5505D835}" destId="{ED5D7C0F-197E-43DF-938E-47C7E739D3E9}" srcOrd="0" destOrd="0" parTransId="{FD2C13C2-914F-493C-8686-F2C443BD9110}" sibTransId="{822879B7-42D4-43A7-A40A-4B9CE3C09D0B}"/>
    <dgm:cxn modelId="{84676AF0-852C-4D5D-A16B-723E6F32832D}" type="presOf" srcId="{E5E33771-DB81-4371-83A2-881C5505D835}" destId="{F57C8594-1820-41B1-958D-273AD6895BC6}" srcOrd="0" destOrd="0" presId="urn:microsoft.com/office/officeart/2005/8/layout/hProcess9"/>
    <dgm:cxn modelId="{8040B023-5508-45F9-8466-AF0691431443}" type="presParOf" srcId="{F57C8594-1820-41B1-958D-273AD6895BC6}" destId="{7DA87D4D-95F7-4E03-92E1-AEFBC53F89C3}" srcOrd="0" destOrd="0" presId="urn:microsoft.com/office/officeart/2005/8/layout/hProcess9"/>
    <dgm:cxn modelId="{33CFD7C2-36B3-4EDB-A42F-853A19849B85}" type="presParOf" srcId="{F57C8594-1820-41B1-958D-273AD6895BC6}" destId="{B3C95656-6E0F-4F14-9A64-AD1D00F53375}" srcOrd="1" destOrd="0" presId="urn:microsoft.com/office/officeart/2005/8/layout/hProcess9"/>
    <dgm:cxn modelId="{E8E858EA-08FD-469D-81DD-D5EDB17DA669}" type="presParOf" srcId="{B3C95656-6E0F-4F14-9A64-AD1D00F53375}" destId="{6A7B2B9A-A8E7-47F8-8C72-60B7E391145A}" srcOrd="0" destOrd="0" presId="urn:microsoft.com/office/officeart/2005/8/layout/hProcess9"/>
    <dgm:cxn modelId="{C785073D-6311-4C71-BD4C-B191BCC5DB76}" type="presParOf" srcId="{B3C95656-6E0F-4F14-9A64-AD1D00F53375}" destId="{76F19027-0EB7-4879-BB36-B9B735EA940A}" srcOrd="1" destOrd="0" presId="urn:microsoft.com/office/officeart/2005/8/layout/hProcess9"/>
    <dgm:cxn modelId="{9A08CF43-770A-4739-AF68-CD634640A3AA}" type="presParOf" srcId="{B3C95656-6E0F-4F14-9A64-AD1D00F53375}" destId="{6882F6BF-7976-4D03-B328-ADB20A5C76B7}" srcOrd="2" destOrd="0" presId="urn:microsoft.com/office/officeart/2005/8/layout/hProcess9"/>
    <dgm:cxn modelId="{8F10C4B6-45D1-41D2-8AE7-F985D95DF563}" type="presParOf" srcId="{B3C95656-6E0F-4F14-9A64-AD1D00F53375}" destId="{6E242C73-968A-4313-89F3-A18E388B7A7D}" srcOrd="3" destOrd="0" presId="urn:microsoft.com/office/officeart/2005/8/layout/hProcess9"/>
    <dgm:cxn modelId="{D1180165-904A-42B3-B12A-9D02F8561C4B}" type="presParOf" srcId="{B3C95656-6E0F-4F14-9A64-AD1D00F53375}" destId="{679E1D92-3741-4815-B8B3-14CECE19A67F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6FAB8A2-3DCE-4BB3-B16F-2F3E50608905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/>
      <dgm:spPr/>
      <dgm:t>
        <a:bodyPr/>
        <a:lstStyle/>
        <a:p>
          <a:endParaRPr lang="en-IN"/>
        </a:p>
      </dgm:t>
    </dgm:pt>
    <dgm:pt modelId="{D640C5CB-1C86-419B-B538-CAB841452DD4}">
      <dgm:prSet custT="1"/>
      <dgm:spPr/>
      <dgm:t>
        <a:bodyPr/>
        <a:lstStyle/>
        <a:p>
          <a:r>
            <a:rPr lang="en-IN" sz="2800" baseline="0" dirty="0"/>
            <a:t>Less effort to create GLS setup</a:t>
          </a:r>
          <a:endParaRPr lang="en-IN" sz="2800" dirty="0"/>
        </a:p>
      </dgm:t>
    </dgm:pt>
    <dgm:pt modelId="{47DD6623-C3F4-431D-BBB6-BE7993E4B0D6}" type="parTrans" cxnId="{97C51EB9-22DD-413C-8E35-2B8E4B4FC238}">
      <dgm:prSet/>
      <dgm:spPr/>
      <dgm:t>
        <a:bodyPr/>
        <a:lstStyle/>
        <a:p>
          <a:endParaRPr lang="en-IN"/>
        </a:p>
      </dgm:t>
    </dgm:pt>
    <dgm:pt modelId="{C7D0C998-95C7-44E0-985F-53E042AFF166}" type="sibTrans" cxnId="{97C51EB9-22DD-413C-8E35-2B8E4B4FC238}">
      <dgm:prSet/>
      <dgm:spPr/>
      <dgm:t>
        <a:bodyPr/>
        <a:lstStyle/>
        <a:p>
          <a:endParaRPr lang="en-IN"/>
        </a:p>
      </dgm:t>
    </dgm:pt>
    <dgm:pt modelId="{BD2917E9-0355-433B-A763-A60DDAC75444}" type="pres">
      <dgm:prSet presAssocID="{86FAB8A2-3DCE-4BB3-B16F-2F3E50608905}" presName="linear" presStyleCnt="0">
        <dgm:presLayoutVars>
          <dgm:animLvl val="lvl"/>
          <dgm:resizeHandles val="exact"/>
        </dgm:presLayoutVars>
      </dgm:prSet>
      <dgm:spPr/>
    </dgm:pt>
    <dgm:pt modelId="{450116A1-B5AD-44E3-8C33-9B1A6A4D0969}" type="pres">
      <dgm:prSet presAssocID="{D640C5CB-1C86-419B-B538-CAB841452DD4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1AC611E-4198-4989-B93A-8663FDCE1F25}" type="presOf" srcId="{D640C5CB-1C86-419B-B538-CAB841452DD4}" destId="{450116A1-B5AD-44E3-8C33-9B1A6A4D0969}" srcOrd="0" destOrd="0" presId="urn:microsoft.com/office/officeart/2005/8/layout/vList2"/>
    <dgm:cxn modelId="{97C51EB9-22DD-413C-8E35-2B8E4B4FC238}" srcId="{86FAB8A2-3DCE-4BB3-B16F-2F3E50608905}" destId="{D640C5CB-1C86-419B-B538-CAB841452DD4}" srcOrd="0" destOrd="0" parTransId="{47DD6623-C3F4-431D-BBB6-BE7993E4B0D6}" sibTransId="{C7D0C998-95C7-44E0-985F-53E042AFF166}"/>
    <dgm:cxn modelId="{8C45CADD-CE7C-4E91-AD1A-C9912FF974DB}" type="presOf" srcId="{86FAB8A2-3DCE-4BB3-B16F-2F3E50608905}" destId="{BD2917E9-0355-433B-A763-A60DDAC75444}" srcOrd="0" destOrd="0" presId="urn:microsoft.com/office/officeart/2005/8/layout/vList2"/>
    <dgm:cxn modelId="{322F81A9-3C99-4206-B28C-55FD4B4C46AF}" type="presParOf" srcId="{BD2917E9-0355-433B-A763-A60DDAC75444}" destId="{450116A1-B5AD-44E3-8C33-9B1A6A4D096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E1AD3FA-A66A-4C94-88FD-91A63B8EE61B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/>
      <dgm:spPr/>
      <dgm:t>
        <a:bodyPr/>
        <a:lstStyle/>
        <a:p>
          <a:endParaRPr lang="en-IN"/>
        </a:p>
      </dgm:t>
    </dgm:pt>
    <dgm:pt modelId="{2BA79336-89DA-4B75-BA40-257B89C81BEA}">
      <dgm:prSet custT="1"/>
      <dgm:spPr/>
      <dgm:t>
        <a:bodyPr/>
        <a:lstStyle/>
        <a:p>
          <a:r>
            <a:rPr lang="en-IN" sz="2800" baseline="0" dirty="0"/>
            <a:t>Simple and easy to use</a:t>
          </a:r>
          <a:endParaRPr lang="en-IN" sz="2800" dirty="0"/>
        </a:p>
      </dgm:t>
    </dgm:pt>
    <dgm:pt modelId="{7D5A1F9C-5D1D-4392-8BC8-AC36028B2EE2}" type="parTrans" cxnId="{9A88163C-8D3F-4D91-81F2-7D798974959B}">
      <dgm:prSet/>
      <dgm:spPr/>
      <dgm:t>
        <a:bodyPr/>
        <a:lstStyle/>
        <a:p>
          <a:endParaRPr lang="en-IN"/>
        </a:p>
      </dgm:t>
    </dgm:pt>
    <dgm:pt modelId="{73FA1866-503E-4E2F-B458-0D2E38B98B88}" type="sibTrans" cxnId="{9A88163C-8D3F-4D91-81F2-7D798974959B}">
      <dgm:prSet/>
      <dgm:spPr/>
      <dgm:t>
        <a:bodyPr/>
        <a:lstStyle/>
        <a:p>
          <a:endParaRPr lang="en-IN"/>
        </a:p>
      </dgm:t>
    </dgm:pt>
    <dgm:pt modelId="{DB76137D-4104-4351-B214-719D2DC24E51}" type="pres">
      <dgm:prSet presAssocID="{DE1AD3FA-A66A-4C94-88FD-91A63B8EE61B}" presName="linear" presStyleCnt="0">
        <dgm:presLayoutVars>
          <dgm:animLvl val="lvl"/>
          <dgm:resizeHandles val="exact"/>
        </dgm:presLayoutVars>
      </dgm:prSet>
      <dgm:spPr/>
    </dgm:pt>
    <dgm:pt modelId="{A45592EA-C30E-49C3-8DBC-F9889B7A9291}" type="pres">
      <dgm:prSet presAssocID="{2BA79336-89DA-4B75-BA40-257B89C81BEA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DDE1C41D-D75D-44E6-9B24-D6542CEE2D9D}" type="presOf" srcId="{DE1AD3FA-A66A-4C94-88FD-91A63B8EE61B}" destId="{DB76137D-4104-4351-B214-719D2DC24E51}" srcOrd="0" destOrd="0" presId="urn:microsoft.com/office/officeart/2005/8/layout/vList2"/>
    <dgm:cxn modelId="{9A88163C-8D3F-4D91-81F2-7D798974959B}" srcId="{DE1AD3FA-A66A-4C94-88FD-91A63B8EE61B}" destId="{2BA79336-89DA-4B75-BA40-257B89C81BEA}" srcOrd="0" destOrd="0" parTransId="{7D5A1F9C-5D1D-4392-8BC8-AC36028B2EE2}" sibTransId="{73FA1866-503E-4E2F-B458-0D2E38B98B88}"/>
    <dgm:cxn modelId="{F231AEEB-E91D-4A66-BD56-6F8F691003BC}" type="presOf" srcId="{2BA79336-89DA-4B75-BA40-257B89C81BEA}" destId="{A45592EA-C30E-49C3-8DBC-F9889B7A9291}" srcOrd="0" destOrd="0" presId="urn:microsoft.com/office/officeart/2005/8/layout/vList2"/>
    <dgm:cxn modelId="{24629B37-AA67-4BB6-AB58-C89F4C9E3B7B}" type="presParOf" srcId="{DB76137D-4104-4351-B214-719D2DC24E51}" destId="{A45592EA-C30E-49C3-8DBC-F9889B7A929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DB62630-A0F6-41BB-AD44-297D86451DC0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/>
      <dgm:spPr/>
      <dgm:t>
        <a:bodyPr/>
        <a:lstStyle/>
        <a:p>
          <a:endParaRPr lang="en-IN"/>
        </a:p>
      </dgm:t>
    </dgm:pt>
    <dgm:pt modelId="{E9E84014-9033-4BD3-99B2-2B062E6A9BF8}">
      <dgm:prSet custT="1"/>
      <dgm:spPr/>
      <dgm:t>
        <a:bodyPr/>
        <a:lstStyle/>
        <a:p>
          <a:r>
            <a:rPr lang="en-IN" sz="2800" baseline="0" dirty="0"/>
            <a:t>Improved Verification quality</a:t>
          </a:r>
          <a:endParaRPr lang="en-IN" sz="2800" dirty="0"/>
        </a:p>
      </dgm:t>
    </dgm:pt>
    <dgm:pt modelId="{E4D85B44-574E-49C5-89B1-BA29260451D2}" type="parTrans" cxnId="{E5AC4B2B-1E83-418B-8450-74F60CA52684}">
      <dgm:prSet/>
      <dgm:spPr/>
      <dgm:t>
        <a:bodyPr/>
        <a:lstStyle/>
        <a:p>
          <a:endParaRPr lang="en-IN"/>
        </a:p>
      </dgm:t>
    </dgm:pt>
    <dgm:pt modelId="{8FF971DB-5B7E-44E3-ABED-E20C0B3A68DD}" type="sibTrans" cxnId="{E5AC4B2B-1E83-418B-8450-74F60CA52684}">
      <dgm:prSet/>
      <dgm:spPr/>
      <dgm:t>
        <a:bodyPr/>
        <a:lstStyle/>
        <a:p>
          <a:endParaRPr lang="en-IN"/>
        </a:p>
      </dgm:t>
    </dgm:pt>
    <dgm:pt modelId="{1C825C82-3FE9-43D2-A0F2-E6F4CF27A4FD}" type="pres">
      <dgm:prSet presAssocID="{7DB62630-A0F6-41BB-AD44-297D86451DC0}" presName="linear" presStyleCnt="0">
        <dgm:presLayoutVars>
          <dgm:animLvl val="lvl"/>
          <dgm:resizeHandles val="exact"/>
        </dgm:presLayoutVars>
      </dgm:prSet>
      <dgm:spPr/>
    </dgm:pt>
    <dgm:pt modelId="{105102DA-546F-418F-AA15-D94D3B0A87C8}" type="pres">
      <dgm:prSet presAssocID="{E9E84014-9033-4BD3-99B2-2B062E6A9BF8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8CFA626-75AB-4E7E-8FC1-8D6A2A7651BF}" type="presOf" srcId="{E9E84014-9033-4BD3-99B2-2B062E6A9BF8}" destId="{105102DA-546F-418F-AA15-D94D3B0A87C8}" srcOrd="0" destOrd="0" presId="urn:microsoft.com/office/officeart/2005/8/layout/vList2"/>
    <dgm:cxn modelId="{E5AC4B2B-1E83-418B-8450-74F60CA52684}" srcId="{7DB62630-A0F6-41BB-AD44-297D86451DC0}" destId="{E9E84014-9033-4BD3-99B2-2B062E6A9BF8}" srcOrd="0" destOrd="0" parTransId="{E4D85B44-574E-49C5-89B1-BA29260451D2}" sibTransId="{8FF971DB-5B7E-44E3-ABED-E20C0B3A68DD}"/>
    <dgm:cxn modelId="{B3EC47E5-D274-4D1E-BDFD-FA77DFB1CFC0}" type="presOf" srcId="{7DB62630-A0F6-41BB-AD44-297D86451DC0}" destId="{1C825C82-3FE9-43D2-A0F2-E6F4CF27A4FD}" srcOrd="0" destOrd="0" presId="urn:microsoft.com/office/officeart/2005/8/layout/vList2"/>
    <dgm:cxn modelId="{BC5184B1-54A7-45D0-81D2-5AB9BA32E935}" type="presParOf" srcId="{1C825C82-3FE9-43D2-A0F2-E6F4CF27A4FD}" destId="{105102DA-546F-418F-AA15-D94D3B0A87C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F9D010A-3130-4462-A091-88D8B7F0EBE6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/>
      <dgm:spPr/>
      <dgm:t>
        <a:bodyPr/>
        <a:lstStyle/>
        <a:p>
          <a:endParaRPr lang="en-IN"/>
        </a:p>
      </dgm:t>
    </dgm:pt>
    <dgm:pt modelId="{0FA34494-8641-4BE5-A54F-794637433185}">
      <dgm:prSet custT="1"/>
      <dgm:spPr/>
      <dgm:t>
        <a:bodyPr/>
        <a:lstStyle/>
        <a:p>
          <a:r>
            <a:rPr lang="en-IN" sz="2800" baseline="0" dirty="0"/>
            <a:t>Timing checks done at IP level</a:t>
          </a:r>
          <a:endParaRPr lang="en-IN" sz="2800" dirty="0"/>
        </a:p>
      </dgm:t>
    </dgm:pt>
    <dgm:pt modelId="{7FBCD243-37D5-42D7-8FEA-4DAA26CEF036}" type="parTrans" cxnId="{C21B4DCC-60C0-4EE2-9A6D-CFE102BC44E1}">
      <dgm:prSet/>
      <dgm:spPr/>
      <dgm:t>
        <a:bodyPr/>
        <a:lstStyle/>
        <a:p>
          <a:endParaRPr lang="en-IN"/>
        </a:p>
      </dgm:t>
    </dgm:pt>
    <dgm:pt modelId="{E569066B-E1EE-4FB6-A721-00CFFC502F44}" type="sibTrans" cxnId="{C21B4DCC-60C0-4EE2-9A6D-CFE102BC44E1}">
      <dgm:prSet/>
      <dgm:spPr/>
      <dgm:t>
        <a:bodyPr/>
        <a:lstStyle/>
        <a:p>
          <a:endParaRPr lang="en-IN"/>
        </a:p>
      </dgm:t>
    </dgm:pt>
    <dgm:pt modelId="{6B21EA8D-50F9-4198-A13B-66C86987E19A}" type="pres">
      <dgm:prSet presAssocID="{AF9D010A-3130-4462-A091-88D8B7F0EBE6}" presName="linear" presStyleCnt="0">
        <dgm:presLayoutVars>
          <dgm:animLvl val="lvl"/>
          <dgm:resizeHandles val="exact"/>
        </dgm:presLayoutVars>
      </dgm:prSet>
      <dgm:spPr/>
    </dgm:pt>
    <dgm:pt modelId="{72043941-BC7F-4C61-82A7-C6753F843A00}" type="pres">
      <dgm:prSet presAssocID="{0FA34494-8641-4BE5-A54F-794637433185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4776627C-97A4-469C-87B5-EC93B21895AC}" type="presOf" srcId="{AF9D010A-3130-4462-A091-88D8B7F0EBE6}" destId="{6B21EA8D-50F9-4198-A13B-66C86987E19A}" srcOrd="0" destOrd="0" presId="urn:microsoft.com/office/officeart/2005/8/layout/vList2"/>
    <dgm:cxn modelId="{23A083B2-33BF-49C6-9BA5-AF3CF4C82C11}" type="presOf" srcId="{0FA34494-8641-4BE5-A54F-794637433185}" destId="{72043941-BC7F-4C61-82A7-C6753F843A00}" srcOrd="0" destOrd="0" presId="urn:microsoft.com/office/officeart/2005/8/layout/vList2"/>
    <dgm:cxn modelId="{C21B4DCC-60C0-4EE2-9A6D-CFE102BC44E1}" srcId="{AF9D010A-3130-4462-A091-88D8B7F0EBE6}" destId="{0FA34494-8641-4BE5-A54F-794637433185}" srcOrd="0" destOrd="0" parTransId="{7FBCD243-37D5-42D7-8FEA-4DAA26CEF036}" sibTransId="{E569066B-E1EE-4FB6-A721-00CFFC502F44}"/>
    <dgm:cxn modelId="{D7E9DAD6-57B7-488A-BAD3-11560D4168A7}" type="presParOf" srcId="{6B21EA8D-50F9-4198-A13B-66C86987E19A}" destId="{72043941-BC7F-4C61-82A7-C6753F843A0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580BC68-9E42-422E-83B9-FF1FB7F3FBC8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12A06DFA-EA4B-4F26-B544-B04F4338B52D}">
      <dgm:prSet custT="1"/>
      <dgm:spPr/>
      <dgm:t>
        <a:bodyPr/>
        <a:lstStyle/>
        <a:p>
          <a:r>
            <a:rPr lang="en-IN" sz="2800" baseline="0" dirty="0"/>
            <a:t>Portable across designs</a:t>
          </a:r>
          <a:endParaRPr lang="en-IN" sz="2800" dirty="0"/>
        </a:p>
      </dgm:t>
    </dgm:pt>
    <dgm:pt modelId="{9BC2C3C0-6D81-4638-8D65-259ADD9F176F}" type="parTrans" cxnId="{5E45C3EE-6915-49C1-B593-44FF51F9C75A}">
      <dgm:prSet/>
      <dgm:spPr/>
      <dgm:t>
        <a:bodyPr/>
        <a:lstStyle/>
        <a:p>
          <a:endParaRPr lang="en-IN"/>
        </a:p>
      </dgm:t>
    </dgm:pt>
    <dgm:pt modelId="{D38C5666-B246-407C-ADF9-9B155908A3EA}" type="sibTrans" cxnId="{5E45C3EE-6915-49C1-B593-44FF51F9C75A}">
      <dgm:prSet/>
      <dgm:spPr/>
      <dgm:t>
        <a:bodyPr/>
        <a:lstStyle/>
        <a:p>
          <a:endParaRPr lang="en-IN"/>
        </a:p>
      </dgm:t>
    </dgm:pt>
    <dgm:pt modelId="{CBD33D64-9F6A-4792-B86D-FDA38430887C}" type="pres">
      <dgm:prSet presAssocID="{5580BC68-9E42-422E-83B9-FF1FB7F3FBC8}" presName="linear" presStyleCnt="0">
        <dgm:presLayoutVars>
          <dgm:animLvl val="lvl"/>
          <dgm:resizeHandles val="exact"/>
        </dgm:presLayoutVars>
      </dgm:prSet>
      <dgm:spPr/>
    </dgm:pt>
    <dgm:pt modelId="{0173DB62-B048-4D6C-A442-3BD51FE9B145}" type="pres">
      <dgm:prSet presAssocID="{12A06DFA-EA4B-4F26-B544-B04F4338B52D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DB7639F-0520-4CE3-A04A-D1CE2ADC7DE3}" type="presOf" srcId="{12A06DFA-EA4B-4F26-B544-B04F4338B52D}" destId="{0173DB62-B048-4D6C-A442-3BD51FE9B145}" srcOrd="0" destOrd="0" presId="urn:microsoft.com/office/officeart/2005/8/layout/vList2"/>
    <dgm:cxn modelId="{659EB0C0-80A9-4176-BF11-F19812851715}" type="presOf" srcId="{5580BC68-9E42-422E-83B9-FF1FB7F3FBC8}" destId="{CBD33D64-9F6A-4792-B86D-FDA38430887C}" srcOrd="0" destOrd="0" presId="urn:microsoft.com/office/officeart/2005/8/layout/vList2"/>
    <dgm:cxn modelId="{5E45C3EE-6915-49C1-B593-44FF51F9C75A}" srcId="{5580BC68-9E42-422E-83B9-FF1FB7F3FBC8}" destId="{12A06DFA-EA4B-4F26-B544-B04F4338B52D}" srcOrd="0" destOrd="0" parTransId="{9BC2C3C0-6D81-4638-8D65-259ADD9F176F}" sibTransId="{D38C5666-B246-407C-ADF9-9B155908A3EA}"/>
    <dgm:cxn modelId="{473D3295-C686-4B03-AB32-B421B3717A3A}" type="presParOf" srcId="{CBD33D64-9F6A-4792-B86D-FDA38430887C}" destId="{0173DB62-B048-4D6C-A442-3BD51FE9B14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712E52D-3971-4E8D-8460-2577F3D5AEA8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41AF5C3-F7FF-4FCB-B149-E3F76353ACB2}">
      <dgm:prSet custT="1"/>
      <dgm:spPr/>
      <dgm:t>
        <a:bodyPr/>
        <a:lstStyle/>
        <a:p>
          <a:r>
            <a:rPr lang="en-US" sz="2800" dirty="0"/>
            <a:t>Timing checks b/w soft IP’s last and hard IP’s first bit flops are not fully proven</a:t>
          </a:r>
          <a:endParaRPr lang="en-IN" sz="2800" dirty="0"/>
        </a:p>
      </dgm:t>
    </dgm:pt>
    <dgm:pt modelId="{069671D0-2374-400E-9DAE-69885FF46275}" type="parTrans" cxnId="{FA6238AB-B338-43AB-A0FF-18D1EAA0795D}">
      <dgm:prSet/>
      <dgm:spPr/>
      <dgm:t>
        <a:bodyPr/>
        <a:lstStyle/>
        <a:p>
          <a:endParaRPr lang="en-IN"/>
        </a:p>
      </dgm:t>
    </dgm:pt>
    <dgm:pt modelId="{259F3413-BFE2-4E77-B407-27B5E0C6E466}" type="sibTrans" cxnId="{FA6238AB-B338-43AB-A0FF-18D1EAA0795D}">
      <dgm:prSet/>
      <dgm:spPr/>
      <dgm:t>
        <a:bodyPr/>
        <a:lstStyle/>
        <a:p>
          <a:endParaRPr lang="en-IN"/>
        </a:p>
      </dgm:t>
    </dgm:pt>
    <dgm:pt modelId="{93E28A63-99AC-4683-83FB-67C942B77195}" type="pres">
      <dgm:prSet presAssocID="{4712E52D-3971-4E8D-8460-2577F3D5AEA8}" presName="linear" presStyleCnt="0">
        <dgm:presLayoutVars>
          <dgm:animLvl val="lvl"/>
          <dgm:resizeHandles val="exact"/>
        </dgm:presLayoutVars>
      </dgm:prSet>
      <dgm:spPr/>
    </dgm:pt>
    <dgm:pt modelId="{25209966-B76B-4FCC-92FC-0C6D56C0E2D7}" type="pres">
      <dgm:prSet presAssocID="{941AF5C3-F7FF-4FCB-B149-E3F76353ACB2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AFA71419-50CE-475C-89E8-2AC60D729D85}" type="presOf" srcId="{941AF5C3-F7FF-4FCB-B149-E3F76353ACB2}" destId="{25209966-B76B-4FCC-92FC-0C6D56C0E2D7}" srcOrd="0" destOrd="0" presId="urn:microsoft.com/office/officeart/2005/8/layout/vList2"/>
    <dgm:cxn modelId="{57283D98-9CC0-4F14-8E5F-018A8D384C00}" type="presOf" srcId="{4712E52D-3971-4E8D-8460-2577F3D5AEA8}" destId="{93E28A63-99AC-4683-83FB-67C942B77195}" srcOrd="0" destOrd="0" presId="urn:microsoft.com/office/officeart/2005/8/layout/vList2"/>
    <dgm:cxn modelId="{FA6238AB-B338-43AB-A0FF-18D1EAA0795D}" srcId="{4712E52D-3971-4E8D-8460-2577F3D5AEA8}" destId="{941AF5C3-F7FF-4FCB-B149-E3F76353ACB2}" srcOrd="0" destOrd="0" parTransId="{069671D0-2374-400E-9DAE-69885FF46275}" sibTransId="{259F3413-BFE2-4E77-B407-27B5E0C6E466}"/>
    <dgm:cxn modelId="{6648C641-EC04-4CC3-8A16-C2FE87213291}" type="presParOf" srcId="{93E28A63-99AC-4683-83FB-67C942B77195}" destId="{25209966-B76B-4FCC-92FC-0C6D56C0E2D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B1E338A-99B6-4F55-A7B3-8FC35A4755AC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68AEE157-AB3B-4979-8061-5D43735768DB}">
      <dgm:prSet custT="1"/>
      <dgm:spPr/>
      <dgm:t>
        <a:bodyPr/>
        <a:lstStyle/>
        <a:p>
          <a:r>
            <a:rPr lang="en-US" sz="2800" baseline="0" dirty="0"/>
            <a:t>Hard block IO toggle info is from RTL sims</a:t>
          </a:r>
        </a:p>
        <a:p>
          <a:r>
            <a:rPr lang="en-US" sz="2800" baseline="0" dirty="0"/>
            <a:t>Not driven by actual netlist</a:t>
          </a:r>
          <a:endParaRPr lang="en-IN" sz="2800" baseline="0" dirty="0"/>
        </a:p>
      </dgm:t>
    </dgm:pt>
    <dgm:pt modelId="{6D0B945B-F819-4AE5-857E-67C2CA7257D2}" type="parTrans" cxnId="{EADE6C24-1D22-47AA-892D-66E8C360F984}">
      <dgm:prSet/>
      <dgm:spPr/>
      <dgm:t>
        <a:bodyPr/>
        <a:lstStyle/>
        <a:p>
          <a:endParaRPr lang="en-IN"/>
        </a:p>
      </dgm:t>
    </dgm:pt>
    <dgm:pt modelId="{0428FCDE-2A12-4263-958C-0380563FFC15}" type="sibTrans" cxnId="{EADE6C24-1D22-47AA-892D-66E8C360F984}">
      <dgm:prSet/>
      <dgm:spPr/>
      <dgm:t>
        <a:bodyPr/>
        <a:lstStyle/>
        <a:p>
          <a:endParaRPr lang="en-IN"/>
        </a:p>
      </dgm:t>
    </dgm:pt>
    <dgm:pt modelId="{1BCB44FB-F66F-4E7C-8185-77FB0EAD9BA1}" type="pres">
      <dgm:prSet presAssocID="{FB1E338A-99B6-4F55-A7B3-8FC35A4755AC}" presName="linear" presStyleCnt="0">
        <dgm:presLayoutVars>
          <dgm:animLvl val="lvl"/>
          <dgm:resizeHandles val="exact"/>
        </dgm:presLayoutVars>
      </dgm:prSet>
      <dgm:spPr/>
    </dgm:pt>
    <dgm:pt modelId="{CBE14AF0-0C74-4032-B3CC-FDC4622BE2F5}" type="pres">
      <dgm:prSet presAssocID="{68AEE157-AB3B-4979-8061-5D43735768DB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ADE6C24-1D22-47AA-892D-66E8C360F984}" srcId="{FB1E338A-99B6-4F55-A7B3-8FC35A4755AC}" destId="{68AEE157-AB3B-4979-8061-5D43735768DB}" srcOrd="0" destOrd="0" parTransId="{6D0B945B-F819-4AE5-857E-67C2CA7257D2}" sibTransId="{0428FCDE-2A12-4263-958C-0380563FFC15}"/>
    <dgm:cxn modelId="{7BB266CA-0EFE-489F-A127-1237B28BF47F}" type="presOf" srcId="{68AEE157-AB3B-4979-8061-5D43735768DB}" destId="{CBE14AF0-0C74-4032-B3CC-FDC4622BE2F5}" srcOrd="0" destOrd="0" presId="urn:microsoft.com/office/officeart/2005/8/layout/vList2"/>
    <dgm:cxn modelId="{452113D0-A643-428A-A38A-4B7C1098F5F4}" type="presOf" srcId="{FB1E338A-99B6-4F55-A7B3-8FC35A4755AC}" destId="{1BCB44FB-F66F-4E7C-8185-77FB0EAD9BA1}" srcOrd="0" destOrd="0" presId="urn:microsoft.com/office/officeart/2005/8/layout/vList2"/>
    <dgm:cxn modelId="{A5AA4321-34BD-4B89-9DC4-79327DC659D7}" type="presParOf" srcId="{1BCB44FB-F66F-4E7C-8185-77FB0EAD9BA1}" destId="{CBE14AF0-0C74-4032-B3CC-FDC4622BE2F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D26DEE-1D0D-4643-8E4C-868C7206F4C0}">
      <dsp:nvSpPr>
        <dsp:cNvPr id="0" name=""/>
        <dsp:cNvSpPr/>
      </dsp:nvSpPr>
      <dsp:spPr>
        <a:xfrm rot="5400000">
          <a:off x="6969909" y="-2894248"/>
          <a:ext cx="983188" cy="702259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Can identify issues missed by RTL simulations, STA, and LEC</a:t>
          </a:r>
          <a:endParaRPr lang="en-IN" sz="2000" kern="1200" dirty="0"/>
        </a:p>
      </dsp:txBody>
      <dsp:txXfrm rot="-5400000">
        <a:off x="3950208" y="173448"/>
        <a:ext cx="6974597" cy="887198"/>
      </dsp:txXfrm>
    </dsp:sp>
    <dsp:sp modelId="{2E7D77E4-212D-4F71-A408-E1AE3264BF3E}">
      <dsp:nvSpPr>
        <dsp:cNvPr id="0" name=""/>
        <dsp:cNvSpPr/>
      </dsp:nvSpPr>
      <dsp:spPr>
        <a:xfrm>
          <a:off x="0" y="2555"/>
          <a:ext cx="3950208" cy="12289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GLS - important component of SoC design cycle</a:t>
          </a:r>
          <a:endParaRPr lang="en-IN" sz="2400" kern="1200" dirty="0"/>
        </a:p>
      </dsp:txBody>
      <dsp:txXfrm>
        <a:off x="59994" y="62549"/>
        <a:ext cx="3830220" cy="1108997"/>
      </dsp:txXfrm>
    </dsp:sp>
    <dsp:sp modelId="{9357106D-CE19-4D67-850C-7C948663B6FD}">
      <dsp:nvSpPr>
        <dsp:cNvPr id="0" name=""/>
        <dsp:cNvSpPr/>
      </dsp:nvSpPr>
      <dsp:spPr>
        <a:xfrm rot="5400000">
          <a:off x="6969909" y="-1603813"/>
          <a:ext cx="983188" cy="702259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000" kern="1200" dirty="0"/>
            <a:t>Synthesis, timing closure done at SoC level</a:t>
          </a:r>
        </a:p>
      </dsp:txBody>
      <dsp:txXfrm rot="-5400000">
        <a:off x="3950208" y="1463883"/>
        <a:ext cx="6974597" cy="887198"/>
      </dsp:txXfrm>
    </dsp:sp>
    <dsp:sp modelId="{79FFA976-44D6-40FD-A523-3E86F7A56190}">
      <dsp:nvSpPr>
        <dsp:cNvPr id="0" name=""/>
        <dsp:cNvSpPr/>
      </dsp:nvSpPr>
      <dsp:spPr>
        <a:xfrm>
          <a:off x="0" y="1292989"/>
          <a:ext cx="3950208" cy="12289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Natural choice at SoC level</a:t>
          </a:r>
          <a:endParaRPr lang="en-IN" sz="2400" kern="1200" dirty="0"/>
        </a:p>
      </dsp:txBody>
      <dsp:txXfrm>
        <a:off x="59994" y="1352983"/>
        <a:ext cx="3830220" cy="1108997"/>
      </dsp:txXfrm>
    </dsp:sp>
    <dsp:sp modelId="{6467D6E5-48A6-4C00-BA23-04A982621B2C}">
      <dsp:nvSpPr>
        <dsp:cNvPr id="0" name=""/>
        <dsp:cNvSpPr/>
      </dsp:nvSpPr>
      <dsp:spPr>
        <a:xfrm rot="5400000">
          <a:off x="6969909" y="-313378"/>
          <a:ext cx="983188" cy="702259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ynthesis and timing closure done at IP level</a:t>
          </a:r>
          <a:endParaRPr lang="en-IN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000" kern="1200" dirty="0"/>
            <a:t>Hardened IP used as it is in SoC netlis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GLS needs to be done at IP level</a:t>
          </a:r>
          <a:endParaRPr lang="en-IN" sz="2000" kern="1200" dirty="0"/>
        </a:p>
      </dsp:txBody>
      <dsp:txXfrm rot="-5400000">
        <a:off x="3950208" y="2754318"/>
        <a:ext cx="6974597" cy="887198"/>
      </dsp:txXfrm>
    </dsp:sp>
    <dsp:sp modelId="{EC0F9832-5648-4D41-98D6-D9E72DB3E1C6}">
      <dsp:nvSpPr>
        <dsp:cNvPr id="0" name=""/>
        <dsp:cNvSpPr/>
      </dsp:nvSpPr>
      <dsp:spPr>
        <a:xfrm>
          <a:off x="0" y="2583424"/>
          <a:ext cx="3950208" cy="12289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What is Hard IP?</a:t>
          </a:r>
          <a:endParaRPr lang="en-IN" sz="2400" kern="1200" dirty="0"/>
        </a:p>
      </dsp:txBody>
      <dsp:txXfrm>
        <a:off x="59994" y="2643418"/>
        <a:ext cx="3830220" cy="1108997"/>
      </dsp:txXfrm>
    </dsp:sp>
    <dsp:sp modelId="{8F3D9620-C142-4D5E-8E94-8E7937164E25}">
      <dsp:nvSpPr>
        <dsp:cNvPr id="0" name=""/>
        <dsp:cNvSpPr/>
      </dsp:nvSpPr>
      <dsp:spPr>
        <a:xfrm rot="5400000">
          <a:off x="6969909" y="977056"/>
          <a:ext cx="983188" cy="702259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pecific IP sub-block timing closed at IP level</a:t>
          </a:r>
          <a:endParaRPr lang="en-IN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Rest of the IP remain as RTL only</a:t>
          </a:r>
          <a:endParaRPr lang="en-IN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How to do Hard IP sub-block GLS inside Hybrid IP?</a:t>
          </a:r>
          <a:endParaRPr lang="en-IN" sz="2000" kern="1200" dirty="0"/>
        </a:p>
      </dsp:txBody>
      <dsp:txXfrm rot="-5400000">
        <a:off x="3950208" y="4044753"/>
        <a:ext cx="6974597" cy="887198"/>
      </dsp:txXfrm>
    </dsp:sp>
    <dsp:sp modelId="{3FBD8C8D-3A67-4BFF-B68F-C1F6AFAFF028}">
      <dsp:nvSpPr>
        <dsp:cNvPr id="0" name=""/>
        <dsp:cNvSpPr/>
      </dsp:nvSpPr>
      <dsp:spPr>
        <a:xfrm>
          <a:off x="0" y="3873859"/>
          <a:ext cx="3950208" cy="12289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What is Hybrid IP?</a:t>
          </a:r>
          <a:endParaRPr lang="en-IN" sz="2400" kern="1200" dirty="0"/>
        </a:p>
      </dsp:txBody>
      <dsp:txXfrm>
        <a:off x="59994" y="3933853"/>
        <a:ext cx="3830220" cy="110899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541DB-A30A-483E-BD7B-B897C7A0B77C}">
      <dsp:nvSpPr>
        <dsp:cNvPr id="0" name=""/>
        <dsp:cNvSpPr/>
      </dsp:nvSpPr>
      <dsp:spPr>
        <a:xfrm>
          <a:off x="0" y="1673"/>
          <a:ext cx="7039857" cy="879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baseline="0" dirty="0"/>
            <a:t>GLS snapshot to be regenerated for each Test</a:t>
          </a:r>
          <a:endParaRPr lang="en-IN" sz="2800" kern="1200" baseline="0" dirty="0"/>
        </a:p>
      </dsp:txBody>
      <dsp:txXfrm>
        <a:off x="42950" y="44623"/>
        <a:ext cx="6953957" cy="79394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2CB70-8B78-4726-9A7A-E0D915C9A503}">
      <dsp:nvSpPr>
        <dsp:cNvPr id="0" name=""/>
        <dsp:cNvSpPr/>
      </dsp:nvSpPr>
      <dsp:spPr>
        <a:xfrm>
          <a:off x="0" y="444"/>
          <a:ext cx="7047378" cy="8822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Data integrity checks done using assertions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dirty="0"/>
            <a:t>Not done with VIP’s and SB</a:t>
          </a:r>
        </a:p>
      </dsp:txBody>
      <dsp:txXfrm>
        <a:off x="43070" y="43514"/>
        <a:ext cx="6961238" cy="79615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93E617-462E-4643-92BC-CA709472F1AA}">
      <dsp:nvSpPr>
        <dsp:cNvPr id="0" name=""/>
        <dsp:cNvSpPr/>
      </dsp:nvSpPr>
      <dsp:spPr>
        <a:xfrm>
          <a:off x="0" y="558164"/>
          <a:ext cx="5651500" cy="124904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>
              <a:latin typeface="+mj-lt"/>
            </a:rPr>
            <a:t>Thank you!</a:t>
          </a:r>
          <a:endParaRPr lang="en-IN" sz="4400" kern="1200" dirty="0">
            <a:latin typeface="+mj-lt"/>
          </a:endParaRPr>
        </a:p>
      </dsp:txBody>
      <dsp:txXfrm>
        <a:off x="60973" y="619137"/>
        <a:ext cx="5529554" cy="11270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A87D4D-95F7-4E03-92E1-AEFBC53F89C3}">
      <dsp:nvSpPr>
        <dsp:cNvPr id="0" name=""/>
        <dsp:cNvSpPr/>
      </dsp:nvSpPr>
      <dsp:spPr>
        <a:xfrm>
          <a:off x="440054" y="0"/>
          <a:ext cx="4987289" cy="255264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7B2B9A-A8E7-47F8-8C72-60B7E391145A}">
      <dsp:nvSpPr>
        <dsp:cNvPr id="0" name=""/>
        <dsp:cNvSpPr/>
      </dsp:nvSpPr>
      <dsp:spPr>
        <a:xfrm>
          <a:off x="1989" y="765794"/>
          <a:ext cx="1695871" cy="10210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Generate standalone TB</a:t>
          </a:r>
        </a:p>
      </dsp:txBody>
      <dsp:txXfrm>
        <a:off x="51833" y="815638"/>
        <a:ext cx="1596183" cy="921371"/>
      </dsp:txXfrm>
    </dsp:sp>
    <dsp:sp modelId="{6882F6BF-7976-4D03-B328-ADB20A5C76B7}">
      <dsp:nvSpPr>
        <dsp:cNvPr id="0" name=""/>
        <dsp:cNvSpPr/>
      </dsp:nvSpPr>
      <dsp:spPr>
        <a:xfrm>
          <a:off x="1931069" y="765794"/>
          <a:ext cx="1790377" cy="10210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Replay stimulus from RTL tests</a:t>
          </a:r>
        </a:p>
      </dsp:txBody>
      <dsp:txXfrm>
        <a:off x="1980913" y="815638"/>
        <a:ext cx="1690689" cy="921371"/>
      </dsp:txXfrm>
    </dsp:sp>
    <dsp:sp modelId="{679E1D92-3741-4815-B8B3-14CECE19A67F}">
      <dsp:nvSpPr>
        <dsp:cNvPr id="0" name=""/>
        <dsp:cNvSpPr/>
      </dsp:nvSpPr>
      <dsp:spPr>
        <a:xfrm>
          <a:off x="3954654" y="765794"/>
          <a:ext cx="1910754" cy="10210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kern="1200" dirty="0"/>
            <a:t>Perform timing &amp; functional checks</a:t>
          </a:r>
        </a:p>
      </dsp:txBody>
      <dsp:txXfrm>
        <a:off x="4004498" y="815638"/>
        <a:ext cx="1811066" cy="9213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0116A1-B5AD-44E3-8C33-9B1A6A4D0969}">
      <dsp:nvSpPr>
        <dsp:cNvPr id="0" name=""/>
        <dsp:cNvSpPr/>
      </dsp:nvSpPr>
      <dsp:spPr>
        <a:xfrm>
          <a:off x="0" y="4926"/>
          <a:ext cx="7269155" cy="8049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baseline="0" dirty="0"/>
            <a:t>Less effort to create GLS setup</a:t>
          </a:r>
          <a:endParaRPr lang="en-IN" sz="2800" kern="1200" dirty="0"/>
        </a:p>
      </dsp:txBody>
      <dsp:txXfrm>
        <a:off x="39295" y="44221"/>
        <a:ext cx="7190565" cy="72637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5592EA-C30E-49C3-8DBC-F9889B7A9291}">
      <dsp:nvSpPr>
        <dsp:cNvPr id="0" name=""/>
        <dsp:cNvSpPr/>
      </dsp:nvSpPr>
      <dsp:spPr>
        <a:xfrm>
          <a:off x="0" y="4926"/>
          <a:ext cx="7262983" cy="8049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baseline="0" dirty="0"/>
            <a:t>Simple and easy to use</a:t>
          </a:r>
          <a:endParaRPr lang="en-IN" sz="2800" kern="1200" dirty="0"/>
        </a:p>
      </dsp:txBody>
      <dsp:txXfrm>
        <a:off x="39295" y="44221"/>
        <a:ext cx="7184393" cy="72637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5102DA-546F-418F-AA15-D94D3B0A87C8}">
      <dsp:nvSpPr>
        <dsp:cNvPr id="0" name=""/>
        <dsp:cNvSpPr/>
      </dsp:nvSpPr>
      <dsp:spPr>
        <a:xfrm>
          <a:off x="0" y="4926"/>
          <a:ext cx="7262981" cy="8049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baseline="0" dirty="0"/>
            <a:t>Improved Verification quality</a:t>
          </a:r>
          <a:endParaRPr lang="en-IN" sz="2800" kern="1200" dirty="0"/>
        </a:p>
      </dsp:txBody>
      <dsp:txXfrm>
        <a:off x="39295" y="44221"/>
        <a:ext cx="7184391" cy="72637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043941-BC7F-4C61-82A7-C6753F843A00}">
      <dsp:nvSpPr>
        <dsp:cNvPr id="0" name=""/>
        <dsp:cNvSpPr/>
      </dsp:nvSpPr>
      <dsp:spPr>
        <a:xfrm>
          <a:off x="0" y="4926"/>
          <a:ext cx="7262981" cy="8049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baseline="0" dirty="0"/>
            <a:t>Timing checks done at IP level</a:t>
          </a:r>
          <a:endParaRPr lang="en-IN" sz="2800" kern="1200" dirty="0"/>
        </a:p>
      </dsp:txBody>
      <dsp:txXfrm>
        <a:off x="39295" y="44221"/>
        <a:ext cx="7184391" cy="72637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3DB62-B048-4D6C-A442-3BD51FE9B145}">
      <dsp:nvSpPr>
        <dsp:cNvPr id="0" name=""/>
        <dsp:cNvSpPr/>
      </dsp:nvSpPr>
      <dsp:spPr>
        <a:xfrm>
          <a:off x="0" y="4926"/>
          <a:ext cx="7269156" cy="8049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800" kern="1200" baseline="0" dirty="0"/>
            <a:t>Portable across designs</a:t>
          </a:r>
          <a:endParaRPr lang="en-IN" sz="2800" kern="1200" dirty="0"/>
        </a:p>
      </dsp:txBody>
      <dsp:txXfrm>
        <a:off x="39295" y="44221"/>
        <a:ext cx="7190566" cy="72637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209966-B76B-4FCC-92FC-0C6D56C0E2D7}">
      <dsp:nvSpPr>
        <dsp:cNvPr id="0" name=""/>
        <dsp:cNvSpPr/>
      </dsp:nvSpPr>
      <dsp:spPr>
        <a:xfrm>
          <a:off x="0" y="101"/>
          <a:ext cx="7039857" cy="882984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Timing checks b/w soft IP’s last and hard IP’s first bit flops are not fully proven</a:t>
          </a:r>
          <a:endParaRPr lang="en-IN" sz="2800" kern="1200" dirty="0"/>
        </a:p>
      </dsp:txBody>
      <dsp:txXfrm>
        <a:off x="43104" y="43205"/>
        <a:ext cx="6953649" cy="79677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E14AF0-0C74-4032-B3CC-FDC4622BE2F5}">
      <dsp:nvSpPr>
        <dsp:cNvPr id="0" name=""/>
        <dsp:cNvSpPr/>
      </dsp:nvSpPr>
      <dsp:spPr>
        <a:xfrm>
          <a:off x="0" y="444"/>
          <a:ext cx="7039857" cy="88229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baseline="0" dirty="0"/>
            <a:t>Hard block IO toggle info is from RTL sims</a:t>
          </a:r>
        </a:p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baseline="0" dirty="0"/>
            <a:t>Not driven by actual netlist</a:t>
          </a:r>
          <a:endParaRPr lang="en-IN" sz="2800" kern="1200" baseline="0" dirty="0"/>
        </a:p>
      </dsp:txBody>
      <dsp:txXfrm>
        <a:off x="43070" y="43514"/>
        <a:ext cx="6953717" cy="7961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92038" y="0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/>
          <a:lstStyle>
            <a:lvl1pPr algn="r">
              <a:defRPr sz="1200"/>
            </a:lvl1pPr>
          </a:lstStyle>
          <a:p>
            <a:fld id="{9175845F-7813-4162-8E43-89DCBF023BA5}" type="datetimeFigureOut">
              <a:rPr lang="de-DE" smtClean="0"/>
              <a:pPr/>
              <a:t>02.08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571208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92038" y="6571208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 anchor="b"/>
          <a:lstStyle>
            <a:lvl1pPr algn="r">
              <a:defRPr sz="1200"/>
            </a:lvl1pPr>
          </a:lstStyle>
          <a:p>
            <a:fld id="{568AD7C4-ADB3-4393-A709-E94E9DB0B97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0745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2038" y="0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A20AF34-6582-494F-851E-89D0463C3413}" type="datetimeFigureOut">
              <a:rPr lang="en-US"/>
              <a:pPr>
                <a:defRPr/>
              </a:pPr>
              <a:t>8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9388" y="519113"/>
            <a:ext cx="4610100" cy="2593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66" tIns="46383" rIns="92766" bIns="4638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4888" y="3286205"/>
            <a:ext cx="8039100" cy="3113247"/>
          </a:xfrm>
          <a:prstGeom prst="rect">
            <a:avLst/>
          </a:prstGeom>
        </p:spPr>
        <p:txBody>
          <a:bodyPr vert="horz" lIns="92766" tIns="46383" rIns="92766" bIns="46383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71208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2038" y="6571208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F1248D3D-B91D-4C0E-B577-B2CAAE2DB8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6142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2857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13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14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5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/>
              <a:t>2020-09-29</a:t>
            </a:r>
          </a:p>
          <a:p>
            <a:endParaRPr lang="en-IN" dirty="0"/>
          </a:p>
        </p:txBody>
      </p:sp>
      <p:sp>
        <p:nvSpPr>
          <p:cNvPr id="17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465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439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9569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853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520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429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7894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/>
              <a:t>2020-09-29</a:t>
            </a:r>
          </a:p>
          <a:p>
            <a:endParaRPr lang="en-IN" dirty="0"/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920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/>
              <a:t>2020-09-29</a:t>
            </a:r>
          </a:p>
          <a:p>
            <a:endParaRPr lang="en-IN" dirty="0"/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324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13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14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5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/>
              <a:t>2020-09-29</a:t>
            </a:r>
          </a:p>
          <a:p>
            <a:endParaRPr lang="en-IN" dirty="0"/>
          </a:p>
        </p:txBody>
      </p:sp>
      <p:sp>
        <p:nvSpPr>
          <p:cNvPr id="17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8370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096000"/>
            <a:ext cx="16256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6D410-BB1B-47BE-81F8-FA61DEEC5942}" type="datetimeFigureOut">
              <a:rPr lang="en-US" smtClean="0"/>
              <a:pPr/>
              <a:t>8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820FFD-5868-4678-ACC2-C353669912D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43" y="6095476"/>
            <a:ext cx="1176058" cy="6821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A8AA75-262C-4581-B680-B40EED1AE53C}" type="datetime1">
              <a:rPr lang="en-US" smtClean="0"/>
              <a:pPr>
                <a:defRPr/>
              </a:pPr>
              <a:t>8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41D75C-4BF4-4FD2-BDFD-6A8F3FBC2A3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1"/>
            <a:ext cx="10972800" cy="44958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6D410-BB1B-47BE-81F8-FA61DEEC5942}" type="datetimeFigureOut">
              <a:rPr lang="en-US" smtClean="0"/>
              <a:pPr/>
              <a:t>8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35200" y="6356351"/>
            <a:ext cx="2946400" cy="365125"/>
          </a:xfrm>
        </p:spPr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BC9A6E-F594-49C2-B860-46C046B55A0A}" type="datetime1">
              <a:rPr lang="en-US" smtClean="0"/>
              <a:pPr>
                <a:defRPr/>
              </a:pPr>
              <a:t>8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BED2C31-2823-4D5C-9492-C3330223678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73DBD0-EF53-4770-BD75-2D2F0D6ECE2F}" type="datetime1">
              <a:rPr lang="en-US" smtClean="0"/>
              <a:pPr>
                <a:defRPr/>
              </a:pPr>
              <a:t>8/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77852F-9151-4853-BCAD-1A8F018BE5A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AFC4C6-4205-4748-A8A0-C1F8D089C381}" type="datetime1">
              <a:rPr lang="en-US" smtClean="0"/>
              <a:pPr>
                <a:defRPr/>
              </a:pPr>
              <a:t>8/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C8F293-4BBC-458E-B2BD-F4405770B8C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D1D31CF-E045-4E65-98EA-1CC49C1609F0}" type="datetime1">
              <a:rPr lang="en-US" smtClean="0"/>
              <a:pPr>
                <a:defRPr/>
              </a:pPr>
              <a:t>8/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EB1C8EF-5791-4944-A3D7-8A1B4885124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EE4636B-F294-483D-938B-D9EE100D15D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30D12D-C12F-4881-A45D-FFFF9E5E27A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69" y="6228949"/>
            <a:ext cx="945931" cy="54864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6400" y="6356351"/>
            <a:ext cx="142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36D410-BB1B-47BE-81F8-FA61DEEC5942}" type="datetimeFigureOut">
              <a:rPr lang="en-US" smtClean="0"/>
              <a:pPr/>
              <a:t>8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5200" y="6356351"/>
            <a:ext cx="294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6800" y="6356351"/>
            <a:ext cx="2336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1F96AF-911C-4C94-9AB3-40AB3DC17CA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114" y="6073503"/>
            <a:ext cx="1175435" cy="70408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4" r:id="rId7"/>
    <p:sldLayoutId id="2147483905" r:id="rId8"/>
    <p:sldLayoutId id="2147483906" r:id="rId9"/>
    <p:sldLayoutId id="2147483907" r:id="rId10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3" Type="http://schemas.microsoft.com/office/2007/relationships/diagramDrawing" Target="../diagrams/drawing3.xml"/><Relationship Id="rId18" Type="http://schemas.microsoft.com/office/2007/relationships/diagramDrawing" Target="../diagrams/drawing4.xml"/><Relationship Id="rId26" Type="http://schemas.openxmlformats.org/officeDocument/2006/relationships/diagramQuickStyle" Target="../diagrams/quickStyle6.xml"/><Relationship Id="rId3" Type="http://schemas.openxmlformats.org/officeDocument/2006/relationships/tags" Target="../tags/tag18.xml"/><Relationship Id="rId21" Type="http://schemas.openxmlformats.org/officeDocument/2006/relationships/diagramQuickStyle" Target="../diagrams/quickStyle5.xml"/><Relationship Id="rId7" Type="http://schemas.openxmlformats.org/officeDocument/2006/relationships/slideLayout" Target="../slideLayouts/slideLayout6.xml"/><Relationship Id="rId12" Type="http://schemas.openxmlformats.org/officeDocument/2006/relationships/diagramColors" Target="../diagrams/colors3.xml"/><Relationship Id="rId17" Type="http://schemas.openxmlformats.org/officeDocument/2006/relationships/diagramColors" Target="../diagrams/colors4.xml"/><Relationship Id="rId25" Type="http://schemas.openxmlformats.org/officeDocument/2006/relationships/diagramLayout" Target="../diagrams/layout6.xml"/><Relationship Id="rId33" Type="http://schemas.microsoft.com/office/2007/relationships/diagramDrawing" Target="../diagrams/drawing7.xml"/><Relationship Id="rId2" Type="http://schemas.openxmlformats.org/officeDocument/2006/relationships/tags" Target="../tags/tag17.xml"/><Relationship Id="rId16" Type="http://schemas.openxmlformats.org/officeDocument/2006/relationships/diagramQuickStyle" Target="../diagrams/quickStyle4.xml"/><Relationship Id="rId20" Type="http://schemas.openxmlformats.org/officeDocument/2006/relationships/diagramLayout" Target="../diagrams/layout5.xml"/><Relationship Id="rId29" Type="http://schemas.openxmlformats.org/officeDocument/2006/relationships/diagramData" Target="../diagrams/data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diagramQuickStyle" Target="../diagrams/quickStyle3.xml"/><Relationship Id="rId24" Type="http://schemas.openxmlformats.org/officeDocument/2006/relationships/diagramData" Target="../diagrams/data6.xml"/><Relationship Id="rId32" Type="http://schemas.openxmlformats.org/officeDocument/2006/relationships/diagramColors" Target="../diagrams/colors7.xml"/><Relationship Id="rId5" Type="http://schemas.openxmlformats.org/officeDocument/2006/relationships/tags" Target="../tags/tag20.xml"/><Relationship Id="rId15" Type="http://schemas.openxmlformats.org/officeDocument/2006/relationships/diagramLayout" Target="../diagrams/layout4.xml"/><Relationship Id="rId23" Type="http://schemas.microsoft.com/office/2007/relationships/diagramDrawing" Target="../diagrams/drawing5.xml"/><Relationship Id="rId28" Type="http://schemas.microsoft.com/office/2007/relationships/diagramDrawing" Target="../diagrams/drawing6.xml"/><Relationship Id="rId10" Type="http://schemas.openxmlformats.org/officeDocument/2006/relationships/diagramLayout" Target="../diagrams/layout3.xml"/><Relationship Id="rId19" Type="http://schemas.openxmlformats.org/officeDocument/2006/relationships/diagramData" Target="../diagrams/data5.xml"/><Relationship Id="rId31" Type="http://schemas.openxmlformats.org/officeDocument/2006/relationships/diagramQuickStyle" Target="../diagrams/quickStyle7.xml"/><Relationship Id="rId4" Type="http://schemas.openxmlformats.org/officeDocument/2006/relationships/tags" Target="../tags/tag19.xml"/><Relationship Id="rId9" Type="http://schemas.openxmlformats.org/officeDocument/2006/relationships/diagramData" Target="../diagrams/data3.xml"/><Relationship Id="rId14" Type="http://schemas.openxmlformats.org/officeDocument/2006/relationships/diagramData" Target="../diagrams/data4.xml"/><Relationship Id="rId22" Type="http://schemas.openxmlformats.org/officeDocument/2006/relationships/diagramColors" Target="../diagrams/colors5.xml"/><Relationship Id="rId27" Type="http://schemas.openxmlformats.org/officeDocument/2006/relationships/diagramColors" Target="../diagrams/colors6.xml"/><Relationship Id="rId30" Type="http://schemas.openxmlformats.org/officeDocument/2006/relationships/diagramLayout" Target="../diagrams/layout7.xml"/><Relationship Id="rId8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diagramData" Target="../diagrams/data9.xml"/><Relationship Id="rId18" Type="http://schemas.openxmlformats.org/officeDocument/2006/relationships/diagramData" Target="../diagrams/data10.xml"/><Relationship Id="rId26" Type="http://schemas.openxmlformats.org/officeDocument/2006/relationships/diagramColors" Target="../diagrams/colors11.xml"/><Relationship Id="rId3" Type="http://schemas.openxmlformats.org/officeDocument/2006/relationships/tags" Target="../tags/tag24.xml"/><Relationship Id="rId21" Type="http://schemas.openxmlformats.org/officeDocument/2006/relationships/diagramColors" Target="../diagrams/colors10.xml"/><Relationship Id="rId7" Type="http://schemas.openxmlformats.org/officeDocument/2006/relationships/notesSlide" Target="../notesSlides/notesSlide8.xml"/><Relationship Id="rId12" Type="http://schemas.microsoft.com/office/2007/relationships/diagramDrawing" Target="../diagrams/drawing8.xml"/><Relationship Id="rId17" Type="http://schemas.microsoft.com/office/2007/relationships/diagramDrawing" Target="../diagrams/drawing9.xml"/><Relationship Id="rId25" Type="http://schemas.openxmlformats.org/officeDocument/2006/relationships/diagramQuickStyle" Target="../diagrams/quickStyle11.xml"/><Relationship Id="rId2" Type="http://schemas.openxmlformats.org/officeDocument/2006/relationships/tags" Target="../tags/tag23.xml"/><Relationship Id="rId16" Type="http://schemas.openxmlformats.org/officeDocument/2006/relationships/diagramColors" Target="../diagrams/colors9.xml"/><Relationship Id="rId20" Type="http://schemas.openxmlformats.org/officeDocument/2006/relationships/diagramQuickStyle" Target="../diagrams/quickStyle10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6.xml"/><Relationship Id="rId11" Type="http://schemas.openxmlformats.org/officeDocument/2006/relationships/diagramColors" Target="../diagrams/colors8.xml"/><Relationship Id="rId24" Type="http://schemas.openxmlformats.org/officeDocument/2006/relationships/diagramLayout" Target="../diagrams/layout11.xml"/><Relationship Id="rId5" Type="http://schemas.openxmlformats.org/officeDocument/2006/relationships/tags" Target="../tags/tag26.xml"/><Relationship Id="rId15" Type="http://schemas.openxmlformats.org/officeDocument/2006/relationships/diagramQuickStyle" Target="../diagrams/quickStyle9.xml"/><Relationship Id="rId23" Type="http://schemas.openxmlformats.org/officeDocument/2006/relationships/diagramData" Target="../diagrams/data11.xml"/><Relationship Id="rId10" Type="http://schemas.openxmlformats.org/officeDocument/2006/relationships/diagramQuickStyle" Target="../diagrams/quickStyle8.xml"/><Relationship Id="rId19" Type="http://schemas.openxmlformats.org/officeDocument/2006/relationships/diagramLayout" Target="../diagrams/layout10.xml"/><Relationship Id="rId4" Type="http://schemas.openxmlformats.org/officeDocument/2006/relationships/tags" Target="../tags/tag25.xml"/><Relationship Id="rId9" Type="http://schemas.openxmlformats.org/officeDocument/2006/relationships/diagramLayout" Target="../diagrams/layout8.xml"/><Relationship Id="rId14" Type="http://schemas.openxmlformats.org/officeDocument/2006/relationships/diagramLayout" Target="../diagrams/layout9.xml"/><Relationship Id="rId22" Type="http://schemas.microsoft.com/office/2007/relationships/diagramDrawing" Target="../diagrams/drawing10.xml"/><Relationship Id="rId27" Type="http://schemas.microsoft.com/office/2007/relationships/diagramDrawing" Target="../diagrams/drawing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notesSlide" Target="../notesSlides/notesSlide9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image" Target="../media/image16.svg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hyperlink" Target="https://www.synopsys.com/verification/simulation/powerreplay.html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7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5.png"/><Relationship Id="rId5" Type="http://schemas.openxmlformats.org/officeDocument/2006/relationships/tags" Target="../tags/tag6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9.emf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3.emf"/><Relationship Id="rId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914400" y="990600"/>
            <a:ext cx="10363200" cy="1470025"/>
          </a:xfrm>
        </p:spPr>
        <p:txBody>
          <a:bodyPr/>
          <a:lstStyle/>
          <a:p>
            <a:r>
              <a:rPr lang="en-US" dirty="0"/>
              <a:t>HISIG- An Efficient Gate Level Simulation Flow for a Hard IP Inside a Soft IP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676400" y="3048000"/>
            <a:ext cx="8534400" cy="2421319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Ishwar Ganiger, Vishal Dalal</a:t>
            </a:r>
          </a:p>
          <a:p>
            <a:r>
              <a:rPr lang="fr-FR" dirty="0"/>
              <a:t>Infineon Technologies, </a:t>
            </a:r>
            <a:r>
              <a:rPr lang="en-US" sz="3200" dirty="0"/>
              <a:t>Bangalore</a:t>
            </a:r>
          </a:p>
          <a:p>
            <a:endParaRPr lang="en-US" sz="3200" dirty="0"/>
          </a:p>
          <a:p>
            <a:r>
              <a:rPr lang="en-US" dirty="0"/>
              <a:t>Johannes Grinschgl</a:t>
            </a:r>
          </a:p>
          <a:p>
            <a:r>
              <a:rPr lang="fr-FR" dirty="0"/>
              <a:t>Infineon Technologies,</a:t>
            </a:r>
            <a:r>
              <a:rPr lang="en-US" dirty="0"/>
              <a:t> Munich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7E05B9-CCAC-4D3A-B904-6C54A5A1BB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820" y="5966897"/>
            <a:ext cx="1789559" cy="78263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IG Pseudo-Co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Accellera</a:t>
            </a:r>
            <a:r>
              <a:rPr lang="en-US" dirty="0"/>
              <a:t>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7996322-BB7C-4C07-AB14-53F97CD398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6405" y="1417638"/>
            <a:ext cx="9243995" cy="4678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8429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1143000"/>
          </a:xfrm>
        </p:spPr>
        <p:txBody>
          <a:bodyPr/>
          <a:lstStyle/>
          <a:p>
            <a:r>
              <a:rPr lang="en-US" dirty="0"/>
              <a:t>Resul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0"/>
            <a:ext cx="10972800" cy="4495800"/>
          </a:xfrm>
        </p:spPr>
        <p:txBody>
          <a:bodyPr/>
          <a:lstStyle/>
          <a:p>
            <a:r>
              <a:rPr lang="en-US" dirty="0"/>
              <a:t>HISIG flow applied to an IP that uses SPI for IO communications</a:t>
            </a:r>
          </a:p>
          <a:p>
            <a:pPr lvl="1"/>
            <a:r>
              <a:rPr lang="en-US" dirty="0"/>
              <a:t>Hardened sub-block had 162 input, 68 output and 21 </a:t>
            </a:r>
            <a:r>
              <a:rPr lang="en-US" dirty="0" err="1"/>
              <a:t>inout</a:t>
            </a:r>
            <a:r>
              <a:rPr lang="en-US" dirty="0"/>
              <a:t> ports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85E6BCD-F001-4B79-928C-4958F87026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663158"/>
              </p:ext>
            </p:extLst>
          </p:nvPr>
        </p:nvGraphicFramePr>
        <p:xfrm>
          <a:off x="2282073" y="2286000"/>
          <a:ext cx="7014327" cy="3970869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3872493">
                  <a:extLst>
                    <a:ext uri="{9D8B030D-6E8A-4147-A177-3AD203B41FA5}">
                      <a16:colId xmlns:a16="http://schemas.microsoft.com/office/drawing/2014/main" val="876562083"/>
                    </a:ext>
                  </a:extLst>
                </a:gridCol>
                <a:gridCol w="3141834">
                  <a:extLst>
                    <a:ext uri="{9D8B030D-6E8A-4147-A177-3AD203B41FA5}">
                      <a16:colId xmlns:a16="http://schemas.microsoft.com/office/drawing/2014/main" val="3016545434"/>
                    </a:ext>
                  </a:extLst>
                </a:gridCol>
              </a:tblGrid>
              <a:tr h="567267">
                <a:tc>
                  <a:txBody>
                    <a:bodyPr/>
                    <a:lstStyle/>
                    <a:p>
                      <a:pPr marL="0" marR="0" lvl="0" indent="118745" algn="just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IP gate count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23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~50K</a:t>
                      </a: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2522593451"/>
                  </a:ext>
                </a:extLst>
              </a:tr>
              <a:tr h="56726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# Testcases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7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2163197764"/>
                  </a:ext>
                </a:extLst>
              </a:tr>
              <a:tr h="56726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Timing corners checked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MIN, MAX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3482408725"/>
                  </a:ext>
                </a:extLst>
              </a:tr>
              <a:tr h="56726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Average Test run time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~15 minutes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2834296217"/>
                  </a:ext>
                </a:extLst>
              </a:tr>
              <a:tr h="56726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GLS setup time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0.5 MM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2688843280"/>
                  </a:ext>
                </a:extLst>
              </a:tr>
              <a:tr h="56726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Efforts saving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~90%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1395710597"/>
                  </a:ext>
                </a:extLst>
              </a:tr>
              <a:tr h="56726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Reusability across designs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300" b="0" dirty="0">
                          <a:effectLst/>
                          <a:latin typeface="+mn-lt"/>
                        </a:rPr>
                        <a:t>YES</a:t>
                      </a:r>
                      <a:endParaRPr lang="en-IN" sz="23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3346" marR="63346" marT="0" marB="0"/>
                </a:tc>
                <a:extLst>
                  <a:ext uri="{0D108BD9-81ED-4DB2-BD59-A6C34878D82A}">
                    <a16:rowId xmlns:a16="http://schemas.microsoft.com/office/drawing/2014/main" val="6596442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0319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IN" dirty="0"/>
              <a:t>Advantages</a:t>
            </a: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4D630BAA-1EC2-C6E7-C7EE-8762FC9625D0}"/>
              </a:ext>
            </a:extLst>
          </p:cNvPr>
          <p:cNvGrpSpPr/>
          <p:nvPr/>
        </p:nvGrpSpPr>
        <p:grpSpPr>
          <a:xfrm>
            <a:off x="615774" y="2870124"/>
            <a:ext cx="1617782" cy="1625676"/>
            <a:chOff x="2004762" y="2447661"/>
            <a:chExt cx="2007784" cy="2007784"/>
          </a:xfrm>
        </p:grpSpPr>
        <p:sp>
          <p:nvSpPr>
            <p:cNvPr id="5" name="Oval 36">
              <a:extLst>
                <a:ext uri="{FF2B5EF4-FFF2-40B4-BE49-F238E27FC236}">
                  <a16:creationId xmlns:a16="http://schemas.microsoft.com/office/drawing/2014/main" id="{1501EF7D-0999-3E44-AC09-628424A12CA2}"/>
                </a:ext>
              </a:extLst>
            </p:cNvPr>
            <p:cNvSpPr/>
            <p:nvPr/>
          </p:nvSpPr>
          <p:spPr>
            <a:xfrm>
              <a:off x="2004762" y="2447661"/>
              <a:ext cx="2007784" cy="200778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Oval 37">
              <a:extLst>
                <a:ext uri="{FF2B5EF4-FFF2-40B4-BE49-F238E27FC236}">
                  <a16:creationId xmlns:a16="http://schemas.microsoft.com/office/drawing/2014/main" id="{44B15514-CD0E-4DD0-5F9D-7F983D7C6713}"/>
                </a:ext>
              </a:extLst>
            </p:cNvPr>
            <p:cNvSpPr/>
            <p:nvPr/>
          </p:nvSpPr>
          <p:spPr>
            <a:xfrm>
              <a:off x="2190878" y="2633777"/>
              <a:ext cx="1635552" cy="1635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38">
              <a:extLst>
                <a:ext uri="{FF2B5EF4-FFF2-40B4-BE49-F238E27FC236}">
                  <a16:creationId xmlns:a16="http://schemas.microsoft.com/office/drawing/2014/main" id="{142E60CF-0C38-E2E4-B618-8803212AF466}"/>
                </a:ext>
              </a:extLst>
            </p:cNvPr>
            <p:cNvSpPr txBox="1"/>
            <p:nvPr/>
          </p:nvSpPr>
          <p:spPr>
            <a:xfrm>
              <a:off x="2190878" y="3074448"/>
              <a:ext cx="1635553" cy="7222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3200" b="1" dirty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rPr>
                <a:t>HISIG</a:t>
              </a:r>
              <a:endParaRPr lang="en-IN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0748BC2A-CC71-43F4-9963-56D58861B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2</a:t>
            </a:fld>
            <a:endParaRPr lang="en-IN" dirty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B625F7C2-1986-4144-BB2F-D7E572AC7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 dirty="0"/>
              <a:t>© </a:t>
            </a:r>
            <a:r>
              <a:rPr lang="en-IN" dirty="0" err="1"/>
              <a:t>Accellera</a:t>
            </a:r>
            <a:r>
              <a:rPr lang="en-IN" dirty="0"/>
              <a:t> Systems Initiativ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E53BB1C-A81B-47DB-892F-360ECAB45FD3}"/>
              </a:ext>
            </a:extLst>
          </p:cNvPr>
          <p:cNvGrpSpPr/>
          <p:nvPr/>
        </p:nvGrpSpPr>
        <p:grpSpPr>
          <a:xfrm>
            <a:off x="1593259" y="1295400"/>
            <a:ext cx="9989142" cy="4724400"/>
            <a:chOff x="1593259" y="1260913"/>
            <a:chExt cx="10827363" cy="5120839"/>
          </a:xfrm>
        </p:grpSpPr>
        <p:sp>
          <p:nvSpPr>
            <p:cNvPr id="10" name="Oval 11">
              <a:extLst>
                <a:ext uri="{FF2B5EF4-FFF2-40B4-BE49-F238E27FC236}">
                  <a16:creationId xmlns:a16="http://schemas.microsoft.com/office/drawing/2014/main" id="{54FCD52C-9F0C-9B50-91B2-3F5B8277645E}"/>
                </a:ext>
              </a:extLst>
            </p:cNvPr>
            <p:cNvSpPr/>
            <p:nvPr/>
          </p:nvSpPr>
          <p:spPr>
            <a:xfrm>
              <a:off x="2366443" y="3764142"/>
              <a:ext cx="124770" cy="12537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Oval 15">
              <a:extLst>
                <a:ext uri="{FF2B5EF4-FFF2-40B4-BE49-F238E27FC236}">
                  <a16:creationId xmlns:a16="http://schemas.microsoft.com/office/drawing/2014/main" id="{AAAB13E0-C1DE-192F-4985-101E8087E8E4}"/>
                </a:ext>
              </a:extLst>
            </p:cNvPr>
            <p:cNvSpPr/>
            <p:nvPr/>
          </p:nvSpPr>
          <p:spPr>
            <a:xfrm>
              <a:off x="2178059" y="4449371"/>
              <a:ext cx="124770" cy="12537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5">
              <a:extLst>
                <a:ext uri="{FF2B5EF4-FFF2-40B4-BE49-F238E27FC236}">
                  <a16:creationId xmlns:a16="http://schemas.microsoft.com/office/drawing/2014/main" id="{754B9F72-BADE-8FC9-B98A-C9BDECF3AF7B}"/>
                </a:ext>
              </a:extLst>
            </p:cNvPr>
            <p:cNvSpPr/>
            <p:nvPr/>
          </p:nvSpPr>
          <p:spPr>
            <a:xfrm>
              <a:off x="2178059" y="3102045"/>
              <a:ext cx="124770" cy="12537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val 15">
              <a:extLst>
                <a:ext uri="{FF2B5EF4-FFF2-40B4-BE49-F238E27FC236}">
                  <a16:creationId xmlns:a16="http://schemas.microsoft.com/office/drawing/2014/main" id="{2E8F2B0B-2FB4-A919-3444-5F8EE2690F80}"/>
                </a:ext>
              </a:extLst>
            </p:cNvPr>
            <p:cNvSpPr/>
            <p:nvPr/>
          </p:nvSpPr>
          <p:spPr>
            <a:xfrm>
              <a:off x="1593259" y="2661600"/>
              <a:ext cx="124770" cy="12537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7C9775A-FCA4-510E-4B04-48929E87B454}"/>
                </a:ext>
              </a:extLst>
            </p:cNvPr>
            <p:cNvSpPr/>
            <p:nvPr/>
          </p:nvSpPr>
          <p:spPr>
            <a:xfrm>
              <a:off x="1593259" y="4862369"/>
              <a:ext cx="124770" cy="12537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3" name="Best-Choice Round">
              <a:extLst>
                <a:ext uri="{FF2B5EF4-FFF2-40B4-BE49-F238E27FC236}">
                  <a16:creationId xmlns:a16="http://schemas.microsoft.com/office/drawing/2014/main" id="{CDF51148-6E2A-4FE6-8CC1-EF5523103A74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3505200" y="2342384"/>
              <a:ext cx="858016" cy="858016"/>
              <a:chOff x="3216274" y="3959755"/>
              <a:chExt cx="1080508" cy="1080508"/>
            </a:xfrm>
          </p:grpSpPr>
          <p:sp>
            <p:nvSpPr>
              <p:cNvPr id="44" name="Freihandform: Form 80">
                <a:extLst>
                  <a:ext uri="{FF2B5EF4-FFF2-40B4-BE49-F238E27FC236}">
                    <a16:creationId xmlns:a16="http://schemas.microsoft.com/office/drawing/2014/main" id="{652EF3FA-E414-4289-A092-DD06597B5199}"/>
                  </a:ext>
                </a:extLst>
              </p:cNvPr>
              <p:cNvSpPr/>
              <p:nvPr/>
            </p:nvSpPr>
            <p:spPr>
              <a:xfrm>
                <a:off x="3216274" y="3959755"/>
                <a:ext cx="1080508" cy="1080508"/>
              </a:xfrm>
              <a:custGeom>
                <a:avLst/>
                <a:gdLst>
                  <a:gd name="connsiteX0" fmla="*/ 1080508 w 1080508"/>
                  <a:gd name="connsiteY0" fmla="*/ 540254 h 1080508"/>
                  <a:gd name="connsiteX1" fmla="*/ 540254 w 1080508"/>
                  <a:gd name="connsiteY1" fmla="*/ 1080508 h 1080508"/>
                  <a:gd name="connsiteX2" fmla="*/ 0 w 1080508"/>
                  <a:gd name="connsiteY2" fmla="*/ 540254 h 1080508"/>
                  <a:gd name="connsiteX3" fmla="*/ 540254 w 1080508"/>
                  <a:gd name="connsiteY3" fmla="*/ 0 h 1080508"/>
                  <a:gd name="connsiteX4" fmla="*/ 1080508 w 1080508"/>
                  <a:gd name="connsiteY4" fmla="*/ 540254 h 1080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0508" h="1080508">
                    <a:moveTo>
                      <a:pt x="1080508" y="540254"/>
                    </a:moveTo>
                    <a:cubicBezTo>
                      <a:pt x="1080508" y="838628"/>
                      <a:pt x="838628" y="1080508"/>
                      <a:pt x="540254" y="1080508"/>
                    </a:cubicBezTo>
                    <a:cubicBezTo>
                      <a:pt x="241880" y="1080508"/>
                      <a:pt x="0" y="838628"/>
                      <a:pt x="0" y="540254"/>
                    </a:cubicBezTo>
                    <a:cubicBezTo>
                      <a:pt x="0" y="241880"/>
                      <a:pt x="241880" y="0"/>
                      <a:pt x="540254" y="0"/>
                    </a:cubicBezTo>
                    <a:cubicBezTo>
                      <a:pt x="838628" y="0"/>
                      <a:pt x="1080508" y="241880"/>
                      <a:pt x="1080508" y="540254"/>
                    </a:cubicBezTo>
                    <a:close/>
                  </a:path>
                </a:pathLst>
              </a:custGeom>
              <a:noFill/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45" name="Freihandform: Form 81">
                <a:extLst>
                  <a:ext uri="{FF2B5EF4-FFF2-40B4-BE49-F238E27FC236}">
                    <a16:creationId xmlns:a16="http://schemas.microsoft.com/office/drawing/2014/main" id="{47F6B787-1B24-49C7-97CD-6CD48F4BB274}"/>
                  </a:ext>
                </a:extLst>
              </p:cNvPr>
              <p:cNvSpPr/>
              <p:nvPr/>
            </p:nvSpPr>
            <p:spPr>
              <a:xfrm>
                <a:off x="3503182" y="4215397"/>
                <a:ext cx="506448" cy="569223"/>
              </a:xfrm>
              <a:custGeom>
                <a:avLst/>
                <a:gdLst>
                  <a:gd name="connsiteX0" fmla="*/ 42428 w 506448"/>
                  <a:gd name="connsiteY0" fmla="*/ 527040 h 569223"/>
                  <a:gd name="connsiteX1" fmla="*/ 84612 w 506448"/>
                  <a:gd name="connsiteY1" fmla="*/ 527040 h 569223"/>
                  <a:gd name="connsiteX2" fmla="*/ 148141 w 506448"/>
                  <a:gd name="connsiteY2" fmla="*/ 548132 h 569223"/>
                  <a:gd name="connsiteX3" fmla="*/ 324372 w 506448"/>
                  <a:gd name="connsiteY3" fmla="*/ 569224 h 569223"/>
                  <a:gd name="connsiteX4" fmla="*/ 388664 w 506448"/>
                  <a:gd name="connsiteY4" fmla="*/ 569224 h 569223"/>
                  <a:gd name="connsiteX5" fmla="*/ 424113 w 506448"/>
                  <a:gd name="connsiteY5" fmla="*/ 554231 h 569223"/>
                  <a:gd name="connsiteX6" fmla="*/ 432245 w 506448"/>
                  <a:gd name="connsiteY6" fmla="*/ 537713 h 569223"/>
                  <a:gd name="connsiteX7" fmla="*/ 432245 w 506448"/>
                  <a:gd name="connsiteY7" fmla="*/ 529835 h 569223"/>
                  <a:gd name="connsiteX8" fmla="*/ 409374 w 506448"/>
                  <a:gd name="connsiteY8" fmla="*/ 492480 h 569223"/>
                  <a:gd name="connsiteX9" fmla="*/ 409374 w 506448"/>
                  <a:gd name="connsiteY9" fmla="*/ 492480 h 569223"/>
                  <a:gd name="connsiteX10" fmla="*/ 437327 w 506448"/>
                  <a:gd name="connsiteY10" fmla="*/ 494005 h 569223"/>
                  <a:gd name="connsiteX11" fmla="*/ 485653 w 506448"/>
                  <a:gd name="connsiteY11" fmla="*/ 451545 h 569223"/>
                  <a:gd name="connsiteX12" fmla="*/ 485737 w 506448"/>
                  <a:gd name="connsiteY12" fmla="*/ 447628 h 569223"/>
                  <a:gd name="connsiteX13" fmla="*/ 441393 w 506448"/>
                  <a:gd name="connsiteY13" fmla="*/ 404174 h 569223"/>
                  <a:gd name="connsiteX14" fmla="*/ 455878 w 506448"/>
                  <a:gd name="connsiteY14" fmla="*/ 404809 h 569223"/>
                  <a:gd name="connsiteX15" fmla="*/ 501469 w 506448"/>
                  <a:gd name="connsiteY15" fmla="*/ 360452 h 569223"/>
                  <a:gd name="connsiteX16" fmla="*/ 459817 w 506448"/>
                  <a:gd name="connsiteY16" fmla="*/ 314979 h 569223"/>
                  <a:gd name="connsiteX17" fmla="*/ 506437 w 506448"/>
                  <a:gd name="connsiteY17" fmla="*/ 270394 h 569223"/>
                  <a:gd name="connsiteX18" fmla="*/ 465534 w 506448"/>
                  <a:gd name="connsiteY18" fmla="*/ 224005 h 569223"/>
                  <a:gd name="connsiteX19" fmla="*/ 303916 w 506448"/>
                  <a:gd name="connsiteY19" fmla="*/ 203294 h 569223"/>
                  <a:gd name="connsiteX20" fmla="*/ 337713 w 506448"/>
                  <a:gd name="connsiteY20" fmla="*/ 63529 h 569223"/>
                  <a:gd name="connsiteX21" fmla="*/ 274184 w 506448"/>
                  <a:gd name="connsiteY21" fmla="*/ 0 h 569223"/>
                  <a:gd name="connsiteX22" fmla="*/ 250805 w 506448"/>
                  <a:gd name="connsiteY22" fmla="*/ 35704 h 569223"/>
                  <a:gd name="connsiteX23" fmla="*/ 250805 w 506448"/>
                  <a:gd name="connsiteY23" fmla="*/ 35704 h 569223"/>
                  <a:gd name="connsiteX24" fmla="*/ 222344 w 506448"/>
                  <a:gd name="connsiteY24" fmla="*/ 115369 h 569223"/>
                  <a:gd name="connsiteX25" fmla="*/ 138866 w 506448"/>
                  <a:gd name="connsiteY25" fmla="*/ 189572 h 569223"/>
                  <a:gd name="connsiteX26" fmla="*/ 117139 w 506448"/>
                  <a:gd name="connsiteY26" fmla="*/ 219939 h 569223"/>
                  <a:gd name="connsiteX27" fmla="*/ 115360 w 506448"/>
                  <a:gd name="connsiteY27" fmla="*/ 222861 h 569223"/>
                  <a:gd name="connsiteX28" fmla="*/ 113200 w 506448"/>
                  <a:gd name="connsiteY28" fmla="*/ 227181 h 569223"/>
                  <a:gd name="connsiteX29" fmla="*/ 109388 w 506448"/>
                  <a:gd name="connsiteY29" fmla="*/ 234424 h 569223"/>
                  <a:gd name="connsiteX30" fmla="*/ 42428 w 506448"/>
                  <a:gd name="connsiteY30" fmla="*/ 252593 h 569223"/>
                  <a:gd name="connsiteX31" fmla="*/ 245 w 506448"/>
                  <a:gd name="connsiteY31" fmla="*/ 286156 h 569223"/>
                  <a:gd name="connsiteX32" fmla="*/ 245 w 506448"/>
                  <a:gd name="connsiteY32" fmla="*/ 294776 h 569223"/>
                  <a:gd name="connsiteX33" fmla="*/ 245 w 506448"/>
                  <a:gd name="connsiteY33" fmla="*/ 487906 h 569223"/>
                  <a:gd name="connsiteX34" fmla="*/ 42428 w 506448"/>
                  <a:gd name="connsiteY34" fmla="*/ 527040 h 569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06448" h="569223">
                    <a:moveTo>
                      <a:pt x="42428" y="527040"/>
                    </a:moveTo>
                    <a:lnTo>
                      <a:pt x="84612" y="527040"/>
                    </a:lnTo>
                    <a:cubicBezTo>
                      <a:pt x="105831" y="527040"/>
                      <a:pt x="122730" y="539746"/>
                      <a:pt x="148141" y="548132"/>
                    </a:cubicBezTo>
                    <a:cubicBezTo>
                      <a:pt x="182955" y="560202"/>
                      <a:pt x="234923" y="569224"/>
                      <a:pt x="324372" y="569224"/>
                    </a:cubicBezTo>
                    <a:lnTo>
                      <a:pt x="388664" y="569224"/>
                    </a:lnTo>
                    <a:cubicBezTo>
                      <a:pt x="401972" y="568986"/>
                      <a:pt x="414674" y="563614"/>
                      <a:pt x="424113" y="554231"/>
                    </a:cubicBezTo>
                    <a:cubicBezTo>
                      <a:pt x="428603" y="549795"/>
                      <a:pt x="431467" y="543976"/>
                      <a:pt x="432245" y="537713"/>
                    </a:cubicBezTo>
                    <a:cubicBezTo>
                      <a:pt x="432245" y="536315"/>
                      <a:pt x="432245" y="530598"/>
                      <a:pt x="432245" y="529835"/>
                    </a:cubicBezTo>
                    <a:cubicBezTo>
                      <a:pt x="434545" y="513515"/>
                      <a:pt x="424956" y="497853"/>
                      <a:pt x="409374" y="492480"/>
                    </a:cubicBezTo>
                    <a:cubicBezTo>
                      <a:pt x="409374" y="492480"/>
                      <a:pt x="409374" y="492480"/>
                      <a:pt x="409374" y="492480"/>
                    </a:cubicBezTo>
                    <a:lnTo>
                      <a:pt x="437327" y="494005"/>
                    </a:lnTo>
                    <a:cubicBezTo>
                      <a:pt x="462397" y="495625"/>
                      <a:pt x="484033" y="476615"/>
                      <a:pt x="485653" y="451545"/>
                    </a:cubicBezTo>
                    <a:cubicBezTo>
                      <a:pt x="485737" y="450242"/>
                      <a:pt x="485765" y="448934"/>
                      <a:pt x="485737" y="447628"/>
                    </a:cubicBezTo>
                    <a:cubicBezTo>
                      <a:pt x="485253" y="423486"/>
                      <a:pt x="465541" y="404169"/>
                      <a:pt x="441393" y="404174"/>
                    </a:cubicBezTo>
                    <a:lnTo>
                      <a:pt x="455878" y="404809"/>
                    </a:lnTo>
                    <a:cubicBezTo>
                      <a:pt x="480717" y="405150"/>
                      <a:pt x="501129" y="385291"/>
                      <a:pt x="501469" y="360452"/>
                    </a:cubicBezTo>
                    <a:cubicBezTo>
                      <a:pt x="501796" y="336664"/>
                      <a:pt x="483542" y="316736"/>
                      <a:pt x="459817" y="314979"/>
                    </a:cubicBezTo>
                    <a:cubicBezTo>
                      <a:pt x="485002" y="315540"/>
                      <a:pt x="505876" y="295580"/>
                      <a:pt x="506437" y="270394"/>
                    </a:cubicBezTo>
                    <a:cubicBezTo>
                      <a:pt x="506968" y="246638"/>
                      <a:pt x="489171" y="226453"/>
                      <a:pt x="465534" y="224005"/>
                    </a:cubicBezTo>
                    <a:lnTo>
                      <a:pt x="303916" y="203294"/>
                    </a:lnTo>
                    <a:cubicBezTo>
                      <a:pt x="326515" y="160198"/>
                      <a:pt x="338126" y="112189"/>
                      <a:pt x="337713" y="63529"/>
                    </a:cubicBezTo>
                    <a:cubicBezTo>
                      <a:pt x="337713" y="7751"/>
                      <a:pt x="297817" y="0"/>
                      <a:pt x="274184" y="0"/>
                    </a:cubicBezTo>
                    <a:cubicBezTo>
                      <a:pt x="255760" y="0"/>
                      <a:pt x="250805" y="35704"/>
                      <a:pt x="250805" y="35704"/>
                    </a:cubicBezTo>
                    <a:lnTo>
                      <a:pt x="250805" y="35704"/>
                    </a:lnTo>
                    <a:cubicBezTo>
                      <a:pt x="245899" y="63679"/>
                      <a:pt x="236276" y="90618"/>
                      <a:pt x="222344" y="115369"/>
                    </a:cubicBezTo>
                    <a:cubicBezTo>
                      <a:pt x="201252" y="156664"/>
                      <a:pt x="172410" y="152852"/>
                      <a:pt x="138866" y="189572"/>
                    </a:cubicBezTo>
                    <a:cubicBezTo>
                      <a:pt x="130661" y="198969"/>
                      <a:pt x="123384" y="209139"/>
                      <a:pt x="117139" y="219939"/>
                    </a:cubicBezTo>
                    <a:cubicBezTo>
                      <a:pt x="116406" y="220821"/>
                      <a:pt x="115806" y="221805"/>
                      <a:pt x="115360" y="222861"/>
                    </a:cubicBezTo>
                    <a:cubicBezTo>
                      <a:pt x="114725" y="224513"/>
                      <a:pt x="113836" y="225656"/>
                      <a:pt x="113200" y="227181"/>
                    </a:cubicBezTo>
                    <a:cubicBezTo>
                      <a:pt x="111805" y="229528"/>
                      <a:pt x="110532" y="231945"/>
                      <a:pt x="109388" y="234424"/>
                    </a:cubicBezTo>
                    <a:cubicBezTo>
                      <a:pt x="88678" y="255007"/>
                      <a:pt x="56151" y="252593"/>
                      <a:pt x="42428" y="252593"/>
                    </a:cubicBezTo>
                    <a:cubicBezTo>
                      <a:pt x="21512" y="250212"/>
                      <a:pt x="2626" y="265239"/>
                      <a:pt x="245" y="286156"/>
                    </a:cubicBezTo>
                    <a:cubicBezTo>
                      <a:pt x="-82" y="289019"/>
                      <a:pt x="-82" y="291913"/>
                      <a:pt x="245" y="294776"/>
                    </a:cubicBezTo>
                    <a:lnTo>
                      <a:pt x="245" y="487906"/>
                    </a:lnTo>
                    <a:cubicBezTo>
                      <a:pt x="245" y="517256"/>
                      <a:pt x="12315" y="527040"/>
                      <a:pt x="42428" y="52704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6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836D1C1A-B6CB-447A-8A43-74CE48B1DAC5}"/>
                </a:ext>
              </a:extLst>
            </p:cNvPr>
            <p:cNvGrpSpPr/>
            <p:nvPr/>
          </p:nvGrpSpPr>
          <p:grpSpPr>
            <a:xfrm>
              <a:off x="1689561" y="1260913"/>
              <a:ext cx="10731061" cy="5120839"/>
              <a:chOff x="1689561" y="1260913"/>
              <a:chExt cx="10731061" cy="5120839"/>
            </a:xfrm>
          </p:grpSpPr>
          <p:sp>
            <p:nvSpPr>
              <p:cNvPr id="2" name="Freihandform 5">
                <a:extLst>
                  <a:ext uri="{FF2B5EF4-FFF2-40B4-BE49-F238E27FC236}">
                    <a16:creationId xmlns:a16="http://schemas.microsoft.com/office/drawing/2014/main" id="{A2ECAD72-830E-F65F-C29E-14E01CC9187E}"/>
                  </a:ext>
                </a:extLst>
              </p:cNvPr>
              <p:cNvSpPr/>
              <p:nvPr/>
            </p:nvSpPr>
            <p:spPr bwMode="auto">
              <a:xfrm>
                <a:off x="1689561" y="4953988"/>
                <a:ext cx="1810537" cy="983444"/>
              </a:xfrm>
              <a:custGeom>
                <a:avLst/>
                <a:gdLst>
                  <a:gd name="connsiteX0" fmla="*/ 1450848 w 1450848"/>
                  <a:gd name="connsiteY0" fmla="*/ 792480 h 792480"/>
                  <a:gd name="connsiteX1" fmla="*/ 780288 w 1450848"/>
                  <a:gd name="connsiteY1" fmla="*/ 792480 h 792480"/>
                  <a:gd name="connsiteX2" fmla="*/ 0 w 1450848"/>
                  <a:gd name="connsiteY2" fmla="*/ 0 h 79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50848" h="792480">
                    <a:moveTo>
                      <a:pt x="1450848" y="792480"/>
                    </a:moveTo>
                    <a:lnTo>
                      <a:pt x="780288" y="79248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IN" sz="4267" dirty="0"/>
              </a:p>
            </p:txBody>
          </p:sp>
          <p:sp>
            <p:nvSpPr>
              <p:cNvPr id="8" name="Freihandform 15">
                <a:extLst>
                  <a:ext uri="{FF2B5EF4-FFF2-40B4-BE49-F238E27FC236}">
                    <a16:creationId xmlns:a16="http://schemas.microsoft.com/office/drawing/2014/main" id="{70953E85-A340-E124-A524-688A5E2E6AF1}"/>
                  </a:ext>
                </a:extLst>
              </p:cNvPr>
              <p:cNvSpPr/>
              <p:nvPr/>
            </p:nvSpPr>
            <p:spPr bwMode="auto">
              <a:xfrm>
                <a:off x="2280246" y="4552052"/>
                <a:ext cx="1219852" cy="374783"/>
              </a:xfrm>
              <a:custGeom>
                <a:avLst/>
                <a:gdLst>
                  <a:gd name="connsiteX0" fmla="*/ 1450848 w 1450848"/>
                  <a:gd name="connsiteY0" fmla="*/ 792480 h 792480"/>
                  <a:gd name="connsiteX1" fmla="*/ 780288 w 1450848"/>
                  <a:gd name="connsiteY1" fmla="*/ 792480 h 792480"/>
                  <a:gd name="connsiteX2" fmla="*/ 0 w 1450848"/>
                  <a:gd name="connsiteY2" fmla="*/ 0 h 79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50848" h="792480">
                    <a:moveTo>
                      <a:pt x="1450848" y="792480"/>
                    </a:moveTo>
                    <a:lnTo>
                      <a:pt x="780288" y="79248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IN" sz="4267" dirty="0"/>
              </a:p>
            </p:txBody>
          </p:sp>
          <p:cxnSp>
            <p:nvCxnSpPr>
              <p:cNvPr id="9" name="Gerade Verbindung 16">
                <a:extLst>
                  <a:ext uri="{FF2B5EF4-FFF2-40B4-BE49-F238E27FC236}">
                    <a16:creationId xmlns:a16="http://schemas.microsoft.com/office/drawing/2014/main" id="{90F92063-0DAF-08E4-8800-8856920031F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491213" y="3825956"/>
                <a:ext cx="1008880" cy="1750"/>
              </a:xfrm>
              <a:prstGeom prst="line">
                <a:avLst/>
              </a:prstGeom>
              <a:ln w="6350">
                <a:solidFill>
                  <a:schemeClr val="tx2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Freihandform 19">
                <a:extLst>
                  <a:ext uri="{FF2B5EF4-FFF2-40B4-BE49-F238E27FC236}">
                    <a16:creationId xmlns:a16="http://schemas.microsoft.com/office/drawing/2014/main" id="{53201A3A-6BA0-B3AF-DF3F-21394B2E048B}"/>
                  </a:ext>
                </a:extLst>
              </p:cNvPr>
              <p:cNvSpPr/>
              <p:nvPr/>
            </p:nvSpPr>
            <p:spPr bwMode="auto">
              <a:xfrm flipV="1">
                <a:off x="2280246" y="2747295"/>
                <a:ext cx="1219852" cy="374783"/>
              </a:xfrm>
              <a:custGeom>
                <a:avLst/>
                <a:gdLst>
                  <a:gd name="connsiteX0" fmla="*/ 1450848 w 1450848"/>
                  <a:gd name="connsiteY0" fmla="*/ 792480 h 792480"/>
                  <a:gd name="connsiteX1" fmla="*/ 780288 w 1450848"/>
                  <a:gd name="connsiteY1" fmla="*/ 792480 h 792480"/>
                  <a:gd name="connsiteX2" fmla="*/ 0 w 1450848"/>
                  <a:gd name="connsiteY2" fmla="*/ 0 h 79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50848" h="792480">
                    <a:moveTo>
                      <a:pt x="1450848" y="792480"/>
                    </a:moveTo>
                    <a:lnTo>
                      <a:pt x="780288" y="79248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IN" sz="4267" dirty="0"/>
              </a:p>
            </p:txBody>
          </p:sp>
          <p:sp>
            <p:nvSpPr>
              <p:cNvPr id="14" name="Freihandform 21">
                <a:extLst>
                  <a:ext uri="{FF2B5EF4-FFF2-40B4-BE49-F238E27FC236}">
                    <a16:creationId xmlns:a16="http://schemas.microsoft.com/office/drawing/2014/main" id="{1DCF909E-8BAC-56CD-1196-599B6FD33BFF}"/>
                  </a:ext>
                </a:extLst>
              </p:cNvPr>
              <p:cNvSpPr/>
              <p:nvPr/>
            </p:nvSpPr>
            <p:spPr bwMode="auto">
              <a:xfrm flipV="1">
                <a:off x="1689561" y="1689757"/>
                <a:ext cx="1810537" cy="983444"/>
              </a:xfrm>
              <a:custGeom>
                <a:avLst/>
                <a:gdLst>
                  <a:gd name="connsiteX0" fmla="*/ 1450848 w 1450848"/>
                  <a:gd name="connsiteY0" fmla="*/ 792480 h 792480"/>
                  <a:gd name="connsiteX1" fmla="*/ 780288 w 1450848"/>
                  <a:gd name="connsiteY1" fmla="*/ 792480 h 792480"/>
                  <a:gd name="connsiteX2" fmla="*/ 0 w 1450848"/>
                  <a:gd name="connsiteY2" fmla="*/ 0 h 792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50848" h="792480">
                    <a:moveTo>
                      <a:pt x="1450848" y="792480"/>
                    </a:moveTo>
                    <a:lnTo>
                      <a:pt x="780288" y="79248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IN" sz="4267" dirty="0"/>
              </a:p>
            </p:txBody>
          </p:sp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D7691AFF-2E4E-C203-E2A8-71B9B9E812B0}"/>
                  </a:ext>
                </a:extLst>
              </p:cNvPr>
              <p:cNvSpPr/>
              <p:nvPr/>
            </p:nvSpPr>
            <p:spPr bwMode="auto">
              <a:xfrm>
                <a:off x="3500095" y="1268414"/>
                <a:ext cx="8082306" cy="883187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216000" indent="-216000" defTabSz="57600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Symbol" panose="05050102010706020507" pitchFamily="18" charset="2"/>
                  <a:buChar char="-"/>
                </a:pPr>
                <a:endParaRPr lang="en-IN" sz="1800" dirty="0"/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8A1CC6BA-DCBF-543A-F777-A8811EEA9933}"/>
                  </a:ext>
                </a:extLst>
              </p:cNvPr>
              <p:cNvSpPr/>
              <p:nvPr/>
            </p:nvSpPr>
            <p:spPr bwMode="auto">
              <a:xfrm>
                <a:off x="3500095" y="2325952"/>
                <a:ext cx="8082306" cy="883187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216000" indent="-216000" defTabSz="57600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Symbol" panose="05050102010706020507" pitchFamily="18" charset="2"/>
                  <a:buChar char="-"/>
                </a:pPr>
                <a:endParaRPr lang="en-IN" sz="1800" dirty="0"/>
              </a:p>
            </p:txBody>
          </p: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36B615A3-5A04-C633-C840-C534C1BF9143}"/>
                  </a:ext>
                </a:extLst>
              </p:cNvPr>
              <p:cNvSpPr/>
              <p:nvPr/>
            </p:nvSpPr>
            <p:spPr bwMode="auto">
              <a:xfrm>
                <a:off x="3500095" y="3383488"/>
                <a:ext cx="8082306" cy="883187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216000" indent="-216000" defTabSz="57600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Symbol" panose="05050102010706020507" pitchFamily="18" charset="2"/>
                  <a:buChar char="-"/>
                </a:pPr>
                <a:endParaRPr lang="en-IN" sz="1800" dirty="0"/>
              </a:p>
            </p:txBody>
          </p:sp>
          <p:sp>
            <p:nvSpPr>
              <p:cNvPr id="20" name="Rechteck 19">
                <a:extLst>
                  <a:ext uri="{FF2B5EF4-FFF2-40B4-BE49-F238E27FC236}">
                    <a16:creationId xmlns:a16="http://schemas.microsoft.com/office/drawing/2014/main" id="{7B705219-7A6C-CC61-A52E-120D517248F1}"/>
                  </a:ext>
                </a:extLst>
              </p:cNvPr>
              <p:cNvSpPr/>
              <p:nvPr/>
            </p:nvSpPr>
            <p:spPr bwMode="auto">
              <a:xfrm>
                <a:off x="3500095" y="4441026"/>
                <a:ext cx="8082306" cy="883187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216000" indent="-216000" defTabSz="57600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Symbol" panose="05050102010706020507" pitchFamily="18" charset="2"/>
                  <a:buChar char="-"/>
                </a:pPr>
                <a:endParaRPr lang="en-IN" sz="1800" dirty="0"/>
              </a:p>
            </p:txBody>
          </p: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588E2F5D-B11B-AE2D-BFCB-14BB574927A7}"/>
                  </a:ext>
                </a:extLst>
              </p:cNvPr>
              <p:cNvSpPr/>
              <p:nvPr/>
            </p:nvSpPr>
            <p:spPr bwMode="auto">
              <a:xfrm>
                <a:off x="3500094" y="5498564"/>
                <a:ext cx="8082305" cy="883187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  <p:txBody>
              <a:bodyPr vert="horz" lIns="72000" tIns="72000" rIns="72000" bIns="72000" rtlCol="0" anchor="ctr">
                <a:noAutofit/>
              </a:bodyPr>
              <a:lstStyle/>
              <a:p>
                <a:pPr marL="216000" indent="-216000" defTabSz="576000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tx2"/>
                  </a:buClr>
                  <a:buSzPct val="100000"/>
                  <a:buFont typeface="Symbol" panose="05050102010706020507" pitchFamily="18" charset="2"/>
                  <a:buChar char="-"/>
                </a:pPr>
                <a:endParaRPr lang="en-IN" sz="1800" dirty="0"/>
              </a:p>
            </p:txBody>
          </p:sp>
          <p:graphicFrame>
            <p:nvGraphicFramePr>
              <p:cNvPr id="25" name="Diagram 24">
                <a:extLst>
                  <a:ext uri="{FF2B5EF4-FFF2-40B4-BE49-F238E27FC236}">
                    <a16:creationId xmlns:a16="http://schemas.microsoft.com/office/drawing/2014/main" id="{BF76C3CB-C6C1-4A47-A7B0-2BF566C92294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61151825"/>
                  </p:ext>
                </p:extLst>
              </p:nvPr>
            </p:nvGraphicFramePr>
            <p:xfrm>
              <a:off x="4541488" y="1268414"/>
              <a:ext cx="7879134" cy="88318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9" r:lo="rId10" r:qs="rId11" r:cs="rId12"/>
              </a:graphicData>
            </a:graphic>
          </p:graphicFrame>
          <p:graphicFrame>
            <p:nvGraphicFramePr>
              <p:cNvPr id="26" name="Diagram 25">
                <a:extLst>
                  <a:ext uri="{FF2B5EF4-FFF2-40B4-BE49-F238E27FC236}">
                    <a16:creationId xmlns:a16="http://schemas.microsoft.com/office/drawing/2014/main" id="{9C0C2C9F-517E-4DC2-8653-9BBF09475B39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710059658"/>
                  </p:ext>
                </p:extLst>
              </p:nvPr>
            </p:nvGraphicFramePr>
            <p:xfrm>
              <a:off x="4541485" y="2325952"/>
              <a:ext cx="7872444" cy="88318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4" r:lo="rId15" r:qs="rId16" r:cs="rId17"/>
              </a:graphicData>
            </a:graphic>
          </p:graphicFrame>
          <p:graphicFrame>
            <p:nvGraphicFramePr>
              <p:cNvPr id="55" name="Diagram 54">
                <a:extLst>
                  <a:ext uri="{FF2B5EF4-FFF2-40B4-BE49-F238E27FC236}">
                    <a16:creationId xmlns:a16="http://schemas.microsoft.com/office/drawing/2014/main" id="{38E3F5F5-E5E1-453A-80FE-09C1691C3D5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56261193"/>
                  </p:ext>
                </p:extLst>
              </p:nvPr>
            </p:nvGraphicFramePr>
            <p:xfrm>
              <a:off x="4541487" y="3383488"/>
              <a:ext cx="7872441" cy="88318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9" r:lo="rId20" r:qs="rId21" r:cs="rId22"/>
              </a:graphicData>
            </a:graphic>
          </p:graphicFrame>
          <p:graphicFrame>
            <p:nvGraphicFramePr>
              <p:cNvPr id="56" name="Diagram 55">
                <a:extLst>
                  <a:ext uri="{FF2B5EF4-FFF2-40B4-BE49-F238E27FC236}">
                    <a16:creationId xmlns:a16="http://schemas.microsoft.com/office/drawing/2014/main" id="{B715E41A-4082-4738-A096-292942C4938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77445847"/>
                  </p:ext>
                </p:extLst>
              </p:nvPr>
            </p:nvGraphicFramePr>
            <p:xfrm>
              <a:off x="4541485" y="4441026"/>
              <a:ext cx="7872441" cy="88318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4" r:lo="rId25" r:qs="rId26" r:cs="rId27"/>
              </a:graphicData>
            </a:graphic>
          </p:graphicFrame>
          <p:graphicFrame>
            <p:nvGraphicFramePr>
              <p:cNvPr id="57" name="Diagram 56">
                <a:extLst>
                  <a:ext uri="{FF2B5EF4-FFF2-40B4-BE49-F238E27FC236}">
                    <a16:creationId xmlns:a16="http://schemas.microsoft.com/office/drawing/2014/main" id="{777F5A48-A565-43C4-9EF4-CD6D224D6E0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635055396"/>
                  </p:ext>
                </p:extLst>
              </p:nvPr>
            </p:nvGraphicFramePr>
            <p:xfrm>
              <a:off x="4541486" y="5498566"/>
              <a:ext cx="7879135" cy="88318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9" r:lo="rId30" r:qs="rId31" r:cs="rId32"/>
              </a:graphicData>
            </a:graphic>
          </p:graphicFrame>
          <p:grpSp>
            <p:nvGrpSpPr>
              <p:cNvPr id="39" name="Best-Choice Round">
                <a:extLst>
                  <a:ext uri="{FF2B5EF4-FFF2-40B4-BE49-F238E27FC236}">
                    <a16:creationId xmlns:a16="http://schemas.microsoft.com/office/drawing/2014/main" id="{73DC93AB-6833-4E5A-8B38-CAFD70725573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3"/>
                </p:custDataLst>
              </p:nvPr>
            </p:nvGrpSpPr>
            <p:grpSpPr>
              <a:xfrm>
                <a:off x="3500093" y="1260913"/>
                <a:ext cx="858016" cy="858016"/>
                <a:chOff x="3216274" y="3959755"/>
                <a:chExt cx="1080508" cy="1080508"/>
              </a:xfrm>
            </p:grpSpPr>
            <p:sp>
              <p:nvSpPr>
                <p:cNvPr id="40" name="Freihandform: Form 80">
                  <a:extLst>
                    <a:ext uri="{FF2B5EF4-FFF2-40B4-BE49-F238E27FC236}">
                      <a16:creationId xmlns:a16="http://schemas.microsoft.com/office/drawing/2014/main" id="{BB22C451-A9F5-4922-86C9-A4AAC615800B}"/>
                    </a:ext>
                  </a:extLst>
                </p:cNvPr>
                <p:cNvSpPr/>
                <p:nvPr/>
              </p:nvSpPr>
              <p:spPr>
                <a:xfrm>
                  <a:off x="3216274" y="3959755"/>
                  <a:ext cx="1080508" cy="1080508"/>
                </a:xfrm>
                <a:custGeom>
                  <a:avLst/>
                  <a:gdLst>
                    <a:gd name="connsiteX0" fmla="*/ 1080508 w 1080508"/>
                    <a:gd name="connsiteY0" fmla="*/ 540254 h 1080508"/>
                    <a:gd name="connsiteX1" fmla="*/ 540254 w 1080508"/>
                    <a:gd name="connsiteY1" fmla="*/ 1080508 h 1080508"/>
                    <a:gd name="connsiteX2" fmla="*/ 0 w 1080508"/>
                    <a:gd name="connsiteY2" fmla="*/ 540254 h 1080508"/>
                    <a:gd name="connsiteX3" fmla="*/ 540254 w 1080508"/>
                    <a:gd name="connsiteY3" fmla="*/ 0 h 1080508"/>
                    <a:gd name="connsiteX4" fmla="*/ 1080508 w 1080508"/>
                    <a:gd name="connsiteY4" fmla="*/ 540254 h 1080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80508" h="1080508">
                      <a:moveTo>
                        <a:pt x="1080508" y="540254"/>
                      </a:moveTo>
                      <a:cubicBezTo>
                        <a:pt x="1080508" y="838628"/>
                        <a:pt x="838628" y="1080508"/>
                        <a:pt x="540254" y="1080508"/>
                      </a:cubicBezTo>
                      <a:cubicBezTo>
                        <a:pt x="241880" y="1080508"/>
                        <a:pt x="0" y="838628"/>
                        <a:pt x="0" y="540254"/>
                      </a:cubicBezTo>
                      <a:cubicBezTo>
                        <a:pt x="0" y="241880"/>
                        <a:pt x="241880" y="0"/>
                        <a:pt x="540254" y="0"/>
                      </a:cubicBezTo>
                      <a:cubicBezTo>
                        <a:pt x="838628" y="0"/>
                        <a:pt x="1080508" y="241880"/>
                        <a:pt x="1080508" y="540254"/>
                      </a:cubicBezTo>
                      <a:close/>
                    </a:path>
                  </a:pathLst>
                </a:custGeom>
                <a:noFill/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42" name="Freihandform: Form 81">
                  <a:extLst>
                    <a:ext uri="{FF2B5EF4-FFF2-40B4-BE49-F238E27FC236}">
                      <a16:creationId xmlns:a16="http://schemas.microsoft.com/office/drawing/2014/main" id="{DEFB5FED-751A-4F91-BCF2-322A23787914}"/>
                    </a:ext>
                  </a:extLst>
                </p:cNvPr>
                <p:cNvSpPr/>
                <p:nvPr/>
              </p:nvSpPr>
              <p:spPr>
                <a:xfrm>
                  <a:off x="3503182" y="4215397"/>
                  <a:ext cx="506448" cy="569223"/>
                </a:xfrm>
                <a:custGeom>
                  <a:avLst/>
                  <a:gdLst>
                    <a:gd name="connsiteX0" fmla="*/ 42428 w 506448"/>
                    <a:gd name="connsiteY0" fmla="*/ 527040 h 569223"/>
                    <a:gd name="connsiteX1" fmla="*/ 84612 w 506448"/>
                    <a:gd name="connsiteY1" fmla="*/ 527040 h 569223"/>
                    <a:gd name="connsiteX2" fmla="*/ 148141 w 506448"/>
                    <a:gd name="connsiteY2" fmla="*/ 548132 h 569223"/>
                    <a:gd name="connsiteX3" fmla="*/ 324372 w 506448"/>
                    <a:gd name="connsiteY3" fmla="*/ 569224 h 569223"/>
                    <a:gd name="connsiteX4" fmla="*/ 388664 w 506448"/>
                    <a:gd name="connsiteY4" fmla="*/ 569224 h 569223"/>
                    <a:gd name="connsiteX5" fmla="*/ 424113 w 506448"/>
                    <a:gd name="connsiteY5" fmla="*/ 554231 h 569223"/>
                    <a:gd name="connsiteX6" fmla="*/ 432245 w 506448"/>
                    <a:gd name="connsiteY6" fmla="*/ 537713 h 569223"/>
                    <a:gd name="connsiteX7" fmla="*/ 432245 w 506448"/>
                    <a:gd name="connsiteY7" fmla="*/ 529835 h 569223"/>
                    <a:gd name="connsiteX8" fmla="*/ 409374 w 506448"/>
                    <a:gd name="connsiteY8" fmla="*/ 492480 h 569223"/>
                    <a:gd name="connsiteX9" fmla="*/ 409374 w 506448"/>
                    <a:gd name="connsiteY9" fmla="*/ 492480 h 569223"/>
                    <a:gd name="connsiteX10" fmla="*/ 437327 w 506448"/>
                    <a:gd name="connsiteY10" fmla="*/ 494005 h 569223"/>
                    <a:gd name="connsiteX11" fmla="*/ 485653 w 506448"/>
                    <a:gd name="connsiteY11" fmla="*/ 451545 h 569223"/>
                    <a:gd name="connsiteX12" fmla="*/ 485737 w 506448"/>
                    <a:gd name="connsiteY12" fmla="*/ 447628 h 569223"/>
                    <a:gd name="connsiteX13" fmla="*/ 441393 w 506448"/>
                    <a:gd name="connsiteY13" fmla="*/ 404174 h 569223"/>
                    <a:gd name="connsiteX14" fmla="*/ 455878 w 506448"/>
                    <a:gd name="connsiteY14" fmla="*/ 404809 h 569223"/>
                    <a:gd name="connsiteX15" fmla="*/ 501469 w 506448"/>
                    <a:gd name="connsiteY15" fmla="*/ 360452 h 569223"/>
                    <a:gd name="connsiteX16" fmla="*/ 459817 w 506448"/>
                    <a:gd name="connsiteY16" fmla="*/ 314979 h 569223"/>
                    <a:gd name="connsiteX17" fmla="*/ 506437 w 506448"/>
                    <a:gd name="connsiteY17" fmla="*/ 270394 h 569223"/>
                    <a:gd name="connsiteX18" fmla="*/ 465534 w 506448"/>
                    <a:gd name="connsiteY18" fmla="*/ 224005 h 569223"/>
                    <a:gd name="connsiteX19" fmla="*/ 303916 w 506448"/>
                    <a:gd name="connsiteY19" fmla="*/ 203294 h 569223"/>
                    <a:gd name="connsiteX20" fmla="*/ 337713 w 506448"/>
                    <a:gd name="connsiteY20" fmla="*/ 63529 h 569223"/>
                    <a:gd name="connsiteX21" fmla="*/ 274184 w 506448"/>
                    <a:gd name="connsiteY21" fmla="*/ 0 h 569223"/>
                    <a:gd name="connsiteX22" fmla="*/ 250805 w 506448"/>
                    <a:gd name="connsiteY22" fmla="*/ 35704 h 569223"/>
                    <a:gd name="connsiteX23" fmla="*/ 250805 w 506448"/>
                    <a:gd name="connsiteY23" fmla="*/ 35704 h 569223"/>
                    <a:gd name="connsiteX24" fmla="*/ 222344 w 506448"/>
                    <a:gd name="connsiteY24" fmla="*/ 115369 h 569223"/>
                    <a:gd name="connsiteX25" fmla="*/ 138866 w 506448"/>
                    <a:gd name="connsiteY25" fmla="*/ 189572 h 569223"/>
                    <a:gd name="connsiteX26" fmla="*/ 117139 w 506448"/>
                    <a:gd name="connsiteY26" fmla="*/ 219939 h 569223"/>
                    <a:gd name="connsiteX27" fmla="*/ 115360 w 506448"/>
                    <a:gd name="connsiteY27" fmla="*/ 222861 h 569223"/>
                    <a:gd name="connsiteX28" fmla="*/ 113200 w 506448"/>
                    <a:gd name="connsiteY28" fmla="*/ 227181 h 569223"/>
                    <a:gd name="connsiteX29" fmla="*/ 109388 w 506448"/>
                    <a:gd name="connsiteY29" fmla="*/ 234424 h 569223"/>
                    <a:gd name="connsiteX30" fmla="*/ 42428 w 506448"/>
                    <a:gd name="connsiteY30" fmla="*/ 252593 h 569223"/>
                    <a:gd name="connsiteX31" fmla="*/ 245 w 506448"/>
                    <a:gd name="connsiteY31" fmla="*/ 286156 h 569223"/>
                    <a:gd name="connsiteX32" fmla="*/ 245 w 506448"/>
                    <a:gd name="connsiteY32" fmla="*/ 294776 h 569223"/>
                    <a:gd name="connsiteX33" fmla="*/ 245 w 506448"/>
                    <a:gd name="connsiteY33" fmla="*/ 487906 h 569223"/>
                    <a:gd name="connsiteX34" fmla="*/ 42428 w 506448"/>
                    <a:gd name="connsiteY34" fmla="*/ 527040 h 569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506448" h="569223">
                      <a:moveTo>
                        <a:pt x="42428" y="527040"/>
                      </a:moveTo>
                      <a:lnTo>
                        <a:pt x="84612" y="527040"/>
                      </a:lnTo>
                      <a:cubicBezTo>
                        <a:pt x="105831" y="527040"/>
                        <a:pt x="122730" y="539746"/>
                        <a:pt x="148141" y="548132"/>
                      </a:cubicBezTo>
                      <a:cubicBezTo>
                        <a:pt x="182955" y="560202"/>
                        <a:pt x="234923" y="569224"/>
                        <a:pt x="324372" y="569224"/>
                      </a:cubicBezTo>
                      <a:lnTo>
                        <a:pt x="388664" y="569224"/>
                      </a:lnTo>
                      <a:cubicBezTo>
                        <a:pt x="401972" y="568986"/>
                        <a:pt x="414674" y="563614"/>
                        <a:pt x="424113" y="554231"/>
                      </a:cubicBezTo>
                      <a:cubicBezTo>
                        <a:pt x="428603" y="549795"/>
                        <a:pt x="431467" y="543976"/>
                        <a:pt x="432245" y="537713"/>
                      </a:cubicBezTo>
                      <a:cubicBezTo>
                        <a:pt x="432245" y="536315"/>
                        <a:pt x="432245" y="530598"/>
                        <a:pt x="432245" y="529835"/>
                      </a:cubicBezTo>
                      <a:cubicBezTo>
                        <a:pt x="434545" y="513515"/>
                        <a:pt x="424956" y="497853"/>
                        <a:pt x="409374" y="492480"/>
                      </a:cubicBezTo>
                      <a:cubicBezTo>
                        <a:pt x="409374" y="492480"/>
                        <a:pt x="409374" y="492480"/>
                        <a:pt x="409374" y="492480"/>
                      </a:cubicBezTo>
                      <a:lnTo>
                        <a:pt x="437327" y="494005"/>
                      </a:lnTo>
                      <a:cubicBezTo>
                        <a:pt x="462397" y="495625"/>
                        <a:pt x="484033" y="476615"/>
                        <a:pt x="485653" y="451545"/>
                      </a:cubicBezTo>
                      <a:cubicBezTo>
                        <a:pt x="485737" y="450242"/>
                        <a:pt x="485765" y="448934"/>
                        <a:pt x="485737" y="447628"/>
                      </a:cubicBezTo>
                      <a:cubicBezTo>
                        <a:pt x="485253" y="423486"/>
                        <a:pt x="465541" y="404169"/>
                        <a:pt x="441393" y="404174"/>
                      </a:cubicBezTo>
                      <a:lnTo>
                        <a:pt x="455878" y="404809"/>
                      </a:lnTo>
                      <a:cubicBezTo>
                        <a:pt x="480717" y="405150"/>
                        <a:pt x="501129" y="385291"/>
                        <a:pt x="501469" y="360452"/>
                      </a:cubicBezTo>
                      <a:cubicBezTo>
                        <a:pt x="501796" y="336664"/>
                        <a:pt x="483542" y="316736"/>
                        <a:pt x="459817" y="314979"/>
                      </a:cubicBezTo>
                      <a:cubicBezTo>
                        <a:pt x="485002" y="315540"/>
                        <a:pt x="505876" y="295580"/>
                        <a:pt x="506437" y="270394"/>
                      </a:cubicBezTo>
                      <a:cubicBezTo>
                        <a:pt x="506968" y="246638"/>
                        <a:pt x="489171" y="226453"/>
                        <a:pt x="465534" y="224005"/>
                      </a:cubicBezTo>
                      <a:lnTo>
                        <a:pt x="303916" y="203294"/>
                      </a:lnTo>
                      <a:cubicBezTo>
                        <a:pt x="326515" y="160198"/>
                        <a:pt x="338126" y="112189"/>
                        <a:pt x="337713" y="63529"/>
                      </a:cubicBezTo>
                      <a:cubicBezTo>
                        <a:pt x="337713" y="7751"/>
                        <a:pt x="297817" y="0"/>
                        <a:pt x="274184" y="0"/>
                      </a:cubicBezTo>
                      <a:cubicBezTo>
                        <a:pt x="255760" y="0"/>
                        <a:pt x="250805" y="35704"/>
                        <a:pt x="250805" y="35704"/>
                      </a:cubicBezTo>
                      <a:lnTo>
                        <a:pt x="250805" y="35704"/>
                      </a:lnTo>
                      <a:cubicBezTo>
                        <a:pt x="245899" y="63679"/>
                        <a:pt x="236276" y="90618"/>
                        <a:pt x="222344" y="115369"/>
                      </a:cubicBezTo>
                      <a:cubicBezTo>
                        <a:pt x="201252" y="156664"/>
                        <a:pt x="172410" y="152852"/>
                        <a:pt x="138866" y="189572"/>
                      </a:cubicBezTo>
                      <a:cubicBezTo>
                        <a:pt x="130661" y="198969"/>
                        <a:pt x="123384" y="209139"/>
                        <a:pt x="117139" y="219939"/>
                      </a:cubicBezTo>
                      <a:cubicBezTo>
                        <a:pt x="116406" y="220821"/>
                        <a:pt x="115806" y="221805"/>
                        <a:pt x="115360" y="222861"/>
                      </a:cubicBezTo>
                      <a:cubicBezTo>
                        <a:pt x="114725" y="224513"/>
                        <a:pt x="113836" y="225656"/>
                        <a:pt x="113200" y="227181"/>
                      </a:cubicBezTo>
                      <a:cubicBezTo>
                        <a:pt x="111805" y="229528"/>
                        <a:pt x="110532" y="231945"/>
                        <a:pt x="109388" y="234424"/>
                      </a:cubicBezTo>
                      <a:cubicBezTo>
                        <a:pt x="88678" y="255007"/>
                        <a:pt x="56151" y="252593"/>
                        <a:pt x="42428" y="252593"/>
                      </a:cubicBezTo>
                      <a:cubicBezTo>
                        <a:pt x="21512" y="250212"/>
                        <a:pt x="2626" y="265239"/>
                        <a:pt x="245" y="286156"/>
                      </a:cubicBezTo>
                      <a:cubicBezTo>
                        <a:pt x="-82" y="289019"/>
                        <a:pt x="-82" y="291913"/>
                        <a:pt x="245" y="294776"/>
                      </a:cubicBezTo>
                      <a:lnTo>
                        <a:pt x="245" y="487906"/>
                      </a:lnTo>
                      <a:cubicBezTo>
                        <a:pt x="245" y="517256"/>
                        <a:pt x="12315" y="527040"/>
                        <a:pt x="42428" y="52704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  <p:grpSp>
            <p:nvGrpSpPr>
              <p:cNvPr id="46" name="Best-Choice Round">
                <a:extLst>
                  <a:ext uri="{FF2B5EF4-FFF2-40B4-BE49-F238E27FC236}">
                    <a16:creationId xmlns:a16="http://schemas.microsoft.com/office/drawing/2014/main" id="{6FDBACF4-1A6B-4739-A8E1-3C6D26B350DD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4"/>
                </p:custDataLst>
              </p:nvPr>
            </p:nvGrpSpPr>
            <p:grpSpPr>
              <a:xfrm>
                <a:off x="3505200" y="3409184"/>
                <a:ext cx="858016" cy="858016"/>
                <a:chOff x="3216274" y="3959755"/>
                <a:chExt cx="1080508" cy="1080508"/>
              </a:xfrm>
            </p:grpSpPr>
            <p:sp>
              <p:nvSpPr>
                <p:cNvPr id="47" name="Freihandform: Form 80">
                  <a:extLst>
                    <a:ext uri="{FF2B5EF4-FFF2-40B4-BE49-F238E27FC236}">
                      <a16:creationId xmlns:a16="http://schemas.microsoft.com/office/drawing/2014/main" id="{A341E0D3-1A2C-4667-B402-5C9ABC78E3F5}"/>
                    </a:ext>
                  </a:extLst>
                </p:cNvPr>
                <p:cNvSpPr/>
                <p:nvPr/>
              </p:nvSpPr>
              <p:spPr>
                <a:xfrm>
                  <a:off x="3216274" y="3959755"/>
                  <a:ext cx="1080508" cy="1080508"/>
                </a:xfrm>
                <a:custGeom>
                  <a:avLst/>
                  <a:gdLst>
                    <a:gd name="connsiteX0" fmla="*/ 1080508 w 1080508"/>
                    <a:gd name="connsiteY0" fmla="*/ 540254 h 1080508"/>
                    <a:gd name="connsiteX1" fmla="*/ 540254 w 1080508"/>
                    <a:gd name="connsiteY1" fmla="*/ 1080508 h 1080508"/>
                    <a:gd name="connsiteX2" fmla="*/ 0 w 1080508"/>
                    <a:gd name="connsiteY2" fmla="*/ 540254 h 1080508"/>
                    <a:gd name="connsiteX3" fmla="*/ 540254 w 1080508"/>
                    <a:gd name="connsiteY3" fmla="*/ 0 h 1080508"/>
                    <a:gd name="connsiteX4" fmla="*/ 1080508 w 1080508"/>
                    <a:gd name="connsiteY4" fmla="*/ 540254 h 1080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80508" h="1080508">
                      <a:moveTo>
                        <a:pt x="1080508" y="540254"/>
                      </a:moveTo>
                      <a:cubicBezTo>
                        <a:pt x="1080508" y="838628"/>
                        <a:pt x="838628" y="1080508"/>
                        <a:pt x="540254" y="1080508"/>
                      </a:cubicBezTo>
                      <a:cubicBezTo>
                        <a:pt x="241880" y="1080508"/>
                        <a:pt x="0" y="838628"/>
                        <a:pt x="0" y="540254"/>
                      </a:cubicBezTo>
                      <a:cubicBezTo>
                        <a:pt x="0" y="241880"/>
                        <a:pt x="241880" y="0"/>
                        <a:pt x="540254" y="0"/>
                      </a:cubicBezTo>
                      <a:cubicBezTo>
                        <a:pt x="838628" y="0"/>
                        <a:pt x="1080508" y="241880"/>
                        <a:pt x="1080508" y="540254"/>
                      </a:cubicBezTo>
                      <a:close/>
                    </a:path>
                  </a:pathLst>
                </a:custGeom>
                <a:noFill/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48" name="Freihandform: Form 81">
                  <a:extLst>
                    <a:ext uri="{FF2B5EF4-FFF2-40B4-BE49-F238E27FC236}">
                      <a16:creationId xmlns:a16="http://schemas.microsoft.com/office/drawing/2014/main" id="{0DE29A84-9D28-4779-B31C-C1B980AD04E0}"/>
                    </a:ext>
                  </a:extLst>
                </p:cNvPr>
                <p:cNvSpPr/>
                <p:nvPr/>
              </p:nvSpPr>
              <p:spPr>
                <a:xfrm>
                  <a:off x="3503182" y="4215397"/>
                  <a:ext cx="506448" cy="569223"/>
                </a:xfrm>
                <a:custGeom>
                  <a:avLst/>
                  <a:gdLst>
                    <a:gd name="connsiteX0" fmla="*/ 42428 w 506448"/>
                    <a:gd name="connsiteY0" fmla="*/ 527040 h 569223"/>
                    <a:gd name="connsiteX1" fmla="*/ 84612 w 506448"/>
                    <a:gd name="connsiteY1" fmla="*/ 527040 h 569223"/>
                    <a:gd name="connsiteX2" fmla="*/ 148141 w 506448"/>
                    <a:gd name="connsiteY2" fmla="*/ 548132 h 569223"/>
                    <a:gd name="connsiteX3" fmla="*/ 324372 w 506448"/>
                    <a:gd name="connsiteY3" fmla="*/ 569224 h 569223"/>
                    <a:gd name="connsiteX4" fmla="*/ 388664 w 506448"/>
                    <a:gd name="connsiteY4" fmla="*/ 569224 h 569223"/>
                    <a:gd name="connsiteX5" fmla="*/ 424113 w 506448"/>
                    <a:gd name="connsiteY5" fmla="*/ 554231 h 569223"/>
                    <a:gd name="connsiteX6" fmla="*/ 432245 w 506448"/>
                    <a:gd name="connsiteY6" fmla="*/ 537713 h 569223"/>
                    <a:gd name="connsiteX7" fmla="*/ 432245 w 506448"/>
                    <a:gd name="connsiteY7" fmla="*/ 529835 h 569223"/>
                    <a:gd name="connsiteX8" fmla="*/ 409374 w 506448"/>
                    <a:gd name="connsiteY8" fmla="*/ 492480 h 569223"/>
                    <a:gd name="connsiteX9" fmla="*/ 409374 w 506448"/>
                    <a:gd name="connsiteY9" fmla="*/ 492480 h 569223"/>
                    <a:gd name="connsiteX10" fmla="*/ 437327 w 506448"/>
                    <a:gd name="connsiteY10" fmla="*/ 494005 h 569223"/>
                    <a:gd name="connsiteX11" fmla="*/ 485653 w 506448"/>
                    <a:gd name="connsiteY11" fmla="*/ 451545 h 569223"/>
                    <a:gd name="connsiteX12" fmla="*/ 485737 w 506448"/>
                    <a:gd name="connsiteY12" fmla="*/ 447628 h 569223"/>
                    <a:gd name="connsiteX13" fmla="*/ 441393 w 506448"/>
                    <a:gd name="connsiteY13" fmla="*/ 404174 h 569223"/>
                    <a:gd name="connsiteX14" fmla="*/ 455878 w 506448"/>
                    <a:gd name="connsiteY14" fmla="*/ 404809 h 569223"/>
                    <a:gd name="connsiteX15" fmla="*/ 501469 w 506448"/>
                    <a:gd name="connsiteY15" fmla="*/ 360452 h 569223"/>
                    <a:gd name="connsiteX16" fmla="*/ 459817 w 506448"/>
                    <a:gd name="connsiteY16" fmla="*/ 314979 h 569223"/>
                    <a:gd name="connsiteX17" fmla="*/ 506437 w 506448"/>
                    <a:gd name="connsiteY17" fmla="*/ 270394 h 569223"/>
                    <a:gd name="connsiteX18" fmla="*/ 465534 w 506448"/>
                    <a:gd name="connsiteY18" fmla="*/ 224005 h 569223"/>
                    <a:gd name="connsiteX19" fmla="*/ 303916 w 506448"/>
                    <a:gd name="connsiteY19" fmla="*/ 203294 h 569223"/>
                    <a:gd name="connsiteX20" fmla="*/ 337713 w 506448"/>
                    <a:gd name="connsiteY20" fmla="*/ 63529 h 569223"/>
                    <a:gd name="connsiteX21" fmla="*/ 274184 w 506448"/>
                    <a:gd name="connsiteY21" fmla="*/ 0 h 569223"/>
                    <a:gd name="connsiteX22" fmla="*/ 250805 w 506448"/>
                    <a:gd name="connsiteY22" fmla="*/ 35704 h 569223"/>
                    <a:gd name="connsiteX23" fmla="*/ 250805 w 506448"/>
                    <a:gd name="connsiteY23" fmla="*/ 35704 h 569223"/>
                    <a:gd name="connsiteX24" fmla="*/ 222344 w 506448"/>
                    <a:gd name="connsiteY24" fmla="*/ 115369 h 569223"/>
                    <a:gd name="connsiteX25" fmla="*/ 138866 w 506448"/>
                    <a:gd name="connsiteY25" fmla="*/ 189572 h 569223"/>
                    <a:gd name="connsiteX26" fmla="*/ 117139 w 506448"/>
                    <a:gd name="connsiteY26" fmla="*/ 219939 h 569223"/>
                    <a:gd name="connsiteX27" fmla="*/ 115360 w 506448"/>
                    <a:gd name="connsiteY27" fmla="*/ 222861 h 569223"/>
                    <a:gd name="connsiteX28" fmla="*/ 113200 w 506448"/>
                    <a:gd name="connsiteY28" fmla="*/ 227181 h 569223"/>
                    <a:gd name="connsiteX29" fmla="*/ 109388 w 506448"/>
                    <a:gd name="connsiteY29" fmla="*/ 234424 h 569223"/>
                    <a:gd name="connsiteX30" fmla="*/ 42428 w 506448"/>
                    <a:gd name="connsiteY30" fmla="*/ 252593 h 569223"/>
                    <a:gd name="connsiteX31" fmla="*/ 245 w 506448"/>
                    <a:gd name="connsiteY31" fmla="*/ 286156 h 569223"/>
                    <a:gd name="connsiteX32" fmla="*/ 245 w 506448"/>
                    <a:gd name="connsiteY32" fmla="*/ 294776 h 569223"/>
                    <a:gd name="connsiteX33" fmla="*/ 245 w 506448"/>
                    <a:gd name="connsiteY33" fmla="*/ 487906 h 569223"/>
                    <a:gd name="connsiteX34" fmla="*/ 42428 w 506448"/>
                    <a:gd name="connsiteY34" fmla="*/ 527040 h 569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506448" h="569223">
                      <a:moveTo>
                        <a:pt x="42428" y="527040"/>
                      </a:moveTo>
                      <a:lnTo>
                        <a:pt x="84612" y="527040"/>
                      </a:lnTo>
                      <a:cubicBezTo>
                        <a:pt x="105831" y="527040"/>
                        <a:pt x="122730" y="539746"/>
                        <a:pt x="148141" y="548132"/>
                      </a:cubicBezTo>
                      <a:cubicBezTo>
                        <a:pt x="182955" y="560202"/>
                        <a:pt x="234923" y="569224"/>
                        <a:pt x="324372" y="569224"/>
                      </a:cubicBezTo>
                      <a:lnTo>
                        <a:pt x="388664" y="569224"/>
                      </a:lnTo>
                      <a:cubicBezTo>
                        <a:pt x="401972" y="568986"/>
                        <a:pt x="414674" y="563614"/>
                        <a:pt x="424113" y="554231"/>
                      </a:cubicBezTo>
                      <a:cubicBezTo>
                        <a:pt x="428603" y="549795"/>
                        <a:pt x="431467" y="543976"/>
                        <a:pt x="432245" y="537713"/>
                      </a:cubicBezTo>
                      <a:cubicBezTo>
                        <a:pt x="432245" y="536315"/>
                        <a:pt x="432245" y="530598"/>
                        <a:pt x="432245" y="529835"/>
                      </a:cubicBezTo>
                      <a:cubicBezTo>
                        <a:pt x="434545" y="513515"/>
                        <a:pt x="424956" y="497853"/>
                        <a:pt x="409374" y="492480"/>
                      </a:cubicBezTo>
                      <a:cubicBezTo>
                        <a:pt x="409374" y="492480"/>
                        <a:pt x="409374" y="492480"/>
                        <a:pt x="409374" y="492480"/>
                      </a:cubicBezTo>
                      <a:lnTo>
                        <a:pt x="437327" y="494005"/>
                      </a:lnTo>
                      <a:cubicBezTo>
                        <a:pt x="462397" y="495625"/>
                        <a:pt x="484033" y="476615"/>
                        <a:pt x="485653" y="451545"/>
                      </a:cubicBezTo>
                      <a:cubicBezTo>
                        <a:pt x="485737" y="450242"/>
                        <a:pt x="485765" y="448934"/>
                        <a:pt x="485737" y="447628"/>
                      </a:cubicBezTo>
                      <a:cubicBezTo>
                        <a:pt x="485253" y="423486"/>
                        <a:pt x="465541" y="404169"/>
                        <a:pt x="441393" y="404174"/>
                      </a:cubicBezTo>
                      <a:lnTo>
                        <a:pt x="455878" y="404809"/>
                      </a:lnTo>
                      <a:cubicBezTo>
                        <a:pt x="480717" y="405150"/>
                        <a:pt x="501129" y="385291"/>
                        <a:pt x="501469" y="360452"/>
                      </a:cubicBezTo>
                      <a:cubicBezTo>
                        <a:pt x="501796" y="336664"/>
                        <a:pt x="483542" y="316736"/>
                        <a:pt x="459817" y="314979"/>
                      </a:cubicBezTo>
                      <a:cubicBezTo>
                        <a:pt x="485002" y="315540"/>
                        <a:pt x="505876" y="295580"/>
                        <a:pt x="506437" y="270394"/>
                      </a:cubicBezTo>
                      <a:cubicBezTo>
                        <a:pt x="506968" y="246638"/>
                        <a:pt x="489171" y="226453"/>
                        <a:pt x="465534" y="224005"/>
                      </a:cubicBezTo>
                      <a:lnTo>
                        <a:pt x="303916" y="203294"/>
                      </a:lnTo>
                      <a:cubicBezTo>
                        <a:pt x="326515" y="160198"/>
                        <a:pt x="338126" y="112189"/>
                        <a:pt x="337713" y="63529"/>
                      </a:cubicBezTo>
                      <a:cubicBezTo>
                        <a:pt x="337713" y="7751"/>
                        <a:pt x="297817" y="0"/>
                        <a:pt x="274184" y="0"/>
                      </a:cubicBezTo>
                      <a:cubicBezTo>
                        <a:pt x="255760" y="0"/>
                        <a:pt x="250805" y="35704"/>
                        <a:pt x="250805" y="35704"/>
                      </a:cubicBezTo>
                      <a:lnTo>
                        <a:pt x="250805" y="35704"/>
                      </a:lnTo>
                      <a:cubicBezTo>
                        <a:pt x="245899" y="63679"/>
                        <a:pt x="236276" y="90618"/>
                        <a:pt x="222344" y="115369"/>
                      </a:cubicBezTo>
                      <a:cubicBezTo>
                        <a:pt x="201252" y="156664"/>
                        <a:pt x="172410" y="152852"/>
                        <a:pt x="138866" y="189572"/>
                      </a:cubicBezTo>
                      <a:cubicBezTo>
                        <a:pt x="130661" y="198969"/>
                        <a:pt x="123384" y="209139"/>
                        <a:pt x="117139" y="219939"/>
                      </a:cubicBezTo>
                      <a:cubicBezTo>
                        <a:pt x="116406" y="220821"/>
                        <a:pt x="115806" y="221805"/>
                        <a:pt x="115360" y="222861"/>
                      </a:cubicBezTo>
                      <a:cubicBezTo>
                        <a:pt x="114725" y="224513"/>
                        <a:pt x="113836" y="225656"/>
                        <a:pt x="113200" y="227181"/>
                      </a:cubicBezTo>
                      <a:cubicBezTo>
                        <a:pt x="111805" y="229528"/>
                        <a:pt x="110532" y="231945"/>
                        <a:pt x="109388" y="234424"/>
                      </a:cubicBezTo>
                      <a:cubicBezTo>
                        <a:pt x="88678" y="255007"/>
                        <a:pt x="56151" y="252593"/>
                        <a:pt x="42428" y="252593"/>
                      </a:cubicBezTo>
                      <a:cubicBezTo>
                        <a:pt x="21512" y="250212"/>
                        <a:pt x="2626" y="265239"/>
                        <a:pt x="245" y="286156"/>
                      </a:cubicBezTo>
                      <a:cubicBezTo>
                        <a:pt x="-82" y="289019"/>
                        <a:pt x="-82" y="291913"/>
                        <a:pt x="245" y="294776"/>
                      </a:cubicBezTo>
                      <a:lnTo>
                        <a:pt x="245" y="487906"/>
                      </a:lnTo>
                      <a:cubicBezTo>
                        <a:pt x="245" y="517256"/>
                        <a:pt x="12315" y="527040"/>
                        <a:pt x="42428" y="52704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  <p:grpSp>
            <p:nvGrpSpPr>
              <p:cNvPr id="49" name="Best-Choice Round">
                <a:extLst>
                  <a:ext uri="{FF2B5EF4-FFF2-40B4-BE49-F238E27FC236}">
                    <a16:creationId xmlns:a16="http://schemas.microsoft.com/office/drawing/2014/main" id="{7FC6FC78-9986-4F8C-8FD8-8869D3AE24F9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5"/>
                </p:custDataLst>
              </p:nvPr>
            </p:nvGrpSpPr>
            <p:grpSpPr>
              <a:xfrm>
                <a:off x="3505200" y="4495800"/>
                <a:ext cx="858016" cy="858016"/>
                <a:chOff x="3216274" y="3959755"/>
                <a:chExt cx="1080508" cy="1080508"/>
              </a:xfrm>
            </p:grpSpPr>
            <p:sp>
              <p:nvSpPr>
                <p:cNvPr id="50" name="Freihandform: Form 80">
                  <a:extLst>
                    <a:ext uri="{FF2B5EF4-FFF2-40B4-BE49-F238E27FC236}">
                      <a16:creationId xmlns:a16="http://schemas.microsoft.com/office/drawing/2014/main" id="{424DA00A-45B7-4423-9213-2070FEDFE027}"/>
                    </a:ext>
                  </a:extLst>
                </p:cNvPr>
                <p:cNvSpPr/>
                <p:nvPr/>
              </p:nvSpPr>
              <p:spPr>
                <a:xfrm>
                  <a:off x="3216274" y="3959755"/>
                  <a:ext cx="1080508" cy="1080508"/>
                </a:xfrm>
                <a:custGeom>
                  <a:avLst/>
                  <a:gdLst>
                    <a:gd name="connsiteX0" fmla="*/ 1080508 w 1080508"/>
                    <a:gd name="connsiteY0" fmla="*/ 540254 h 1080508"/>
                    <a:gd name="connsiteX1" fmla="*/ 540254 w 1080508"/>
                    <a:gd name="connsiteY1" fmla="*/ 1080508 h 1080508"/>
                    <a:gd name="connsiteX2" fmla="*/ 0 w 1080508"/>
                    <a:gd name="connsiteY2" fmla="*/ 540254 h 1080508"/>
                    <a:gd name="connsiteX3" fmla="*/ 540254 w 1080508"/>
                    <a:gd name="connsiteY3" fmla="*/ 0 h 1080508"/>
                    <a:gd name="connsiteX4" fmla="*/ 1080508 w 1080508"/>
                    <a:gd name="connsiteY4" fmla="*/ 540254 h 1080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80508" h="1080508">
                      <a:moveTo>
                        <a:pt x="1080508" y="540254"/>
                      </a:moveTo>
                      <a:cubicBezTo>
                        <a:pt x="1080508" y="838628"/>
                        <a:pt x="838628" y="1080508"/>
                        <a:pt x="540254" y="1080508"/>
                      </a:cubicBezTo>
                      <a:cubicBezTo>
                        <a:pt x="241880" y="1080508"/>
                        <a:pt x="0" y="838628"/>
                        <a:pt x="0" y="540254"/>
                      </a:cubicBezTo>
                      <a:cubicBezTo>
                        <a:pt x="0" y="241880"/>
                        <a:pt x="241880" y="0"/>
                        <a:pt x="540254" y="0"/>
                      </a:cubicBezTo>
                      <a:cubicBezTo>
                        <a:pt x="838628" y="0"/>
                        <a:pt x="1080508" y="241880"/>
                        <a:pt x="1080508" y="540254"/>
                      </a:cubicBezTo>
                      <a:close/>
                    </a:path>
                  </a:pathLst>
                </a:custGeom>
                <a:noFill/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51" name="Freihandform: Form 81">
                  <a:extLst>
                    <a:ext uri="{FF2B5EF4-FFF2-40B4-BE49-F238E27FC236}">
                      <a16:creationId xmlns:a16="http://schemas.microsoft.com/office/drawing/2014/main" id="{4BCA808F-9491-43EB-AF74-F8E516AD3686}"/>
                    </a:ext>
                  </a:extLst>
                </p:cNvPr>
                <p:cNvSpPr/>
                <p:nvPr/>
              </p:nvSpPr>
              <p:spPr>
                <a:xfrm>
                  <a:off x="3503182" y="4215397"/>
                  <a:ext cx="506448" cy="569223"/>
                </a:xfrm>
                <a:custGeom>
                  <a:avLst/>
                  <a:gdLst>
                    <a:gd name="connsiteX0" fmla="*/ 42428 w 506448"/>
                    <a:gd name="connsiteY0" fmla="*/ 527040 h 569223"/>
                    <a:gd name="connsiteX1" fmla="*/ 84612 w 506448"/>
                    <a:gd name="connsiteY1" fmla="*/ 527040 h 569223"/>
                    <a:gd name="connsiteX2" fmla="*/ 148141 w 506448"/>
                    <a:gd name="connsiteY2" fmla="*/ 548132 h 569223"/>
                    <a:gd name="connsiteX3" fmla="*/ 324372 w 506448"/>
                    <a:gd name="connsiteY3" fmla="*/ 569224 h 569223"/>
                    <a:gd name="connsiteX4" fmla="*/ 388664 w 506448"/>
                    <a:gd name="connsiteY4" fmla="*/ 569224 h 569223"/>
                    <a:gd name="connsiteX5" fmla="*/ 424113 w 506448"/>
                    <a:gd name="connsiteY5" fmla="*/ 554231 h 569223"/>
                    <a:gd name="connsiteX6" fmla="*/ 432245 w 506448"/>
                    <a:gd name="connsiteY6" fmla="*/ 537713 h 569223"/>
                    <a:gd name="connsiteX7" fmla="*/ 432245 w 506448"/>
                    <a:gd name="connsiteY7" fmla="*/ 529835 h 569223"/>
                    <a:gd name="connsiteX8" fmla="*/ 409374 w 506448"/>
                    <a:gd name="connsiteY8" fmla="*/ 492480 h 569223"/>
                    <a:gd name="connsiteX9" fmla="*/ 409374 w 506448"/>
                    <a:gd name="connsiteY9" fmla="*/ 492480 h 569223"/>
                    <a:gd name="connsiteX10" fmla="*/ 437327 w 506448"/>
                    <a:gd name="connsiteY10" fmla="*/ 494005 h 569223"/>
                    <a:gd name="connsiteX11" fmla="*/ 485653 w 506448"/>
                    <a:gd name="connsiteY11" fmla="*/ 451545 h 569223"/>
                    <a:gd name="connsiteX12" fmla="*/ 485737 w 506448"/>
                    <a:gd name="connsiteY12" fmla="*/ 447628 h 569223"/>
                    <a:gd name="connsiteX13" fmla="*/ 441393 w 506448"/>
                    <a:gd name="connsiteY13" fmla="*/ 404174 h 569223"/>
                    <a:gd name="connsiteX14" fmla="*/ 455878 w 506448"/>
                    <a:gd name="connsiteY14" fmla="*/ 404809 h 569223"/>
                    <a:gd name="connsiteX15" fmla="*/ 501469 w 506448"/>
                    <a:gd name="connsiteY15" fmla="*/ 360452 h 569223"/>
                    <a:gd name="connsiteX16" fmla="*/ 459817 w 506448"/>
                    <a:gd name="connsiteY16" fmla="*/ 314979 h 569223"/>
                    <a:gd name="connsiteX17" fmla="*/ 506437 w 506448"/>
                    <a:gd name="connsiteY17" fmla="*/ 270394 h 569223"/>
                    <a:gd name="connsiteX18" fmla="*/ 465534 w 506448"/>
                    <a:gd name="connsiteY18" fmla="*/ 224005 h 569223"/>
                    <a:gd name="connsiteX19" fmla="*/ 303916 w 506448"/>
                    <a:gd name="connsiteY19" fmla="*/ 203294 h 569223"/>
                    <a:gd name="connsiteX20" fmla="*/ 337713 w 506448"/>
                    <a:gd name="connsiteY20" fmla="*/ 63529 h 569223"/>
                    <a:gd name="connsiteX21" fmla="*/ 274184 w 506448"/>
                    <a:gd name="connsiteY21" fmla="*/ 0 h 569223"/>
                    <a:gd name="connsiteX22" fmla="*/ 250805 w 506448"/>
                    <a:gd name="connsiteY22" fmla="*/ 35704 h 569223"/>
                    <a:gd name="connsiteX23" fmla="*/ 250805 w 506448"/>
                    <a:gd name="connsiteY23" fmla="*/ 35704 h 569223"/>
                    <a:gd name="connsiteX24" fmla="*/ 222344 w 506448"/>
                    <a:gd name="connsiteY24" fmla="*/ 115369 h 569223"/>
                    <a:gd name="connsiteX25" fmla="*/ 138866 w 506448"/>
                    <a:gd name="connsiteY25" fmla="*/ 189572 h 569223"/>
                    <a:gd name="connsiteX26" fmla="*/ 117139 w 506448"/>
                    <a:gd name="connsiteY26" fmla="*/ 219939 h 569223"/>
                    <a:gd name="connsiteX27" fmla="*/ 115360 w 506448"/>
                    <a:gd name="connsiteY27" fmla="*/ 222861 h 569223"/>
                    <a:gd name="connsiteX28" fmla="*/ 113200 w 506448"/>
                    <a:gd name="connsiteY28" fmla="*/ 227181 h 569223"/>
                    <a:gd name="connsiteX29" fmla="*/ 109388 w 506448"/>
                    <a:gd name="connsiteY29" fmla="*/ 234424 h 569223"/>
                    <a:gd name="connsiteX30" fmla="*/ 42428 w 506448"/>
                    <a:gd name="connsiteY30" fmla="*/ 252593 h 569223"/>
                    <a:gd name="connsiteX31" fmla="*/ 245 w 506448"/>
                    <a:gd name="connsiteY31" fmla="*/ 286156 h 569223"/>
                    <a:gd name="connsiteX32" fmla="*/ 245 w 506448"/>
                    <a:gd name="connsiteY32" fmla="*/ 294776 h 569223"/>
                    <a:gd name="connsiteX33" fmla="*/ 245 w 506448"/>
                    <a:gd name="connsiteY33" fmla="*/ 487906 h 569223"/>
                    <a:gd name="connsiteX34" fmla="*/ 42428 w 506448"/>
                    <a:gd name="connsiteY34" fmla="*/ 527040 h 569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506448" h="569223">
                      <a:moveTo>
                        <a:pt x="42428" y="527040"/>
                      </a:moveTo>
                      <a:lnTo>
                        <a:pt x="84612" y="527040"/>
                      </a:lnTo>
                      <a:cubicBezTo>
                        <a:pt x="105831" y="527040"/>
                        <a:pt x="122730" y="539746"/>
                        <a:pt x="148141" y="548132"/>
                      </a:cubicBezTo>
                      <a:cubicBezTo>
                        <a:pt x="182955" y="560202"/>
                        <a:pt x="234923" y="569224"/>
                        <a:pt x="324372" y="569224"/>
                      </a:cubicBezTo>
                      <a:lnTo>
                        <a:pt x="388664" y="569224"/>
                      </a:lnTo>
                      <a:cubicBezTo>
                        <a:pt x="401972" y="568986"/>
                        <a:pt x="414674" y="563614"/>
                        <a:pt x="424113" y="554231"/>
                      </a:cubicBezTo>
                      <a:cubicBezTo>
                        <a:pt x="428603" y="549795"/>
                        <a:pt x="431467" y="543976"/>
                        <a:pt x="432245" y="537713"/>
                      </a:cubicBezTo>
                      <a:cubicBezTo>
                        <a:pt x="432245" y="536315"/>
                        <a:pt x="432245" y="530598"/>
                        <a:pt x="432245" y="529835"/>
                      </a:cubicBezTo>
                      <a:cubicBezTo>
                        <a:pt x="434545" y="513515"/>
                        <a:pt x="424956" y="497853"/>
                        <a:pt x="409374" y="492480"/>
                      </a:cubicBezTo>
                      <a:cubicBezTo>
                        <a:pt x="409374" y="492480"/>
                        <a:pt x="409374" y="492480"/>
                        <a:pt x="409374" y="492480"/>
                      </a:cubicBezTo>
                      <a:lnTo>
                        <a:pt x="437327" y="494005"/>
                      </a:lnTo>
                      <a:cubicBezTo>
                        <a:pt x="462397" y="495625"/>
                        <a:pt x="484033" y="476615"/>
                        <a:pt x="485653" y="451545"/>
                      </a:cubicBezTo>
                      <a:cubicBezTo>
                        <a:pt x="485737" y="450242"/>
                        <a:pt x="485765" y="448934"/>
                        <a:pt x="485737" y="447628"/>
                      </a:cubicBezTo>
                      <a:cubicBezTo>
                        <a:pt x="485253" y="423486"/>
                        <a:pt x="465541" y="404169"/>
                        <a:pt x="441393" y="404174"/>
                      </a:cubicBezTo>
                      <a:lnTo>
                        <a:pt x="455878" y="404809"/>
                      </a:lnTo>
                      <a:cubicBezTo>
                        <a:pt x="480717" y="405150"/>
                        <a:pt x="501129" y="385291"/>
                        <a:pt x="501469" y="360452"/>
                      </a:cubicBezTo>
                      <a:cubicBezTo>
                        <a:pt x="501796" y="336664"/>
                        <a:pt x="483542" y="316736"/>
                        <a:pt x="459817" y="314979"/>
                      </a:cubicBezTo>
                      <a:cubicBezTo>
                        <a:pt x="485002" y="315540"/>
                        <a:pt x="505876" y="295580"/>
                        <a:pt x="506437" y="270394"/>
                      </a:cubicBezTo>
                      <a:cubicBezTo>
                        <a:pt x="506968" y="246638"/>
                        <a:pt x="489171" y="226453"/>
                        <a:pt x="465534" y="224005"/>
                      </a:cubicBezTo>
                      <a:lnTo>
                        <a:pt x="303916" y="203294"/>
                      </a:lnTo>
                      <a:cubicBezTo>
                        <a:pt x="326515" y="160198"/>
                        <a:pt x="338126" y="112189"/>
                        <a:pt x="337713" y="63529"/>
                      </a:cubicBezTo>
                      <a:cubicBezTo>
                        <a:pt x="337713" y="7751"/>
                        <a:pt x="297817" y="0"/>
                        <a:pt x="274184" y="0"/>
                      </a:cubicBezTo>
                      <a:cubicBezTo>
                        <a:pt x="255760" y="0"/>
                        <a:pt x="250805" y="35704"/>
                        <a:pt x="250805" y="35704"/>
                      </a:cubicBezTo>
                      <a:lnTo>
                        <a:pt x="250805" y="35704"/>
                      </a:lnTo>
                      <a:cubicBezTo>
                        <a:pt x="245899" y="63679"/>
                        <a:pt x="236276" y="90618"/>
                        <a:pt x="222344" y="115369"/>
                      </a:cubicBezTo>
                      <a:cubicBezTo>
                        <a:pt x="201252" y="156664"/>
                        <a:pt x="172410" y="152852"/>
                        <a:pt x="138866" y="189572"/>
                      </a:cubicBezTo>
                      <a:cubicBezTo>
                        <a:pt x="130661" y="198969"/>
                        <a:pt x="123384" y="209139"/>
                        <a:pt x="117139" y="219939"/>
                      </a:cubicBezTo>
                      <a:cubicBezTo>
                        <a:pt x="116406" y="220821"/>
                        <a:pt x="115806" y="221805"/>
                        <a:pt x="115360" y="222861"/>
                      </a:cubicBezTo>
                      <a:cubicBezTo>
                        <a:pt x="114725" y="224513"/>
                        <a:pt x="113836" y="225656"/>
                        <a:pt x="113200" y="227181"/>
                      </a:cubicBezTo>
                      <a:cubicBezTo>
                        <a:pt x="111805" y="229528"/>
                        <a:pt x="110532" y="231945"/>
                        <a:pt x="109388" y="234424"/>
                      </a:cubicBezTo>
                      <a:cubicBezTo>
                        <a:pt x="88678" y="255007"/>
                        <a:pt x="56151" y="252593"/>
                        <a:pt x="42428" y="252593"/>
                      </a:cubicBezTo>
                      <a:cubicBezTo>
                        <a:pt x="21512" y="250212"/>
                        <a:pt x="2626" y="265239"/>
                        <a:pt x="245" y="286156"/>
                      </a:cubicBezTo>
                      <a:cubicBezTo>
                        <a:pt x="-82" y="289019"/>
                        <a:pt x="-82" y="291913"/>
                        <a:pt x="245" y="294776"/>
                      </a:cubicBezTo>
                      <a:lnTo>
                        <a:pt x="245" y="487906"/>
                      </a:lnTo>
                      <a:cubicBezTo>
                        <a:pt x="245" y="517256"/>
                        <a:pt x="12315" y="527040"/>
                        <a:pt x="42428" y="52704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  <p:grpSp>
            <p:nvGrpSpPr>
              <p:cNvPr id="52" name="Best-Choice Round">
                <a:extLst>
                  <a:ext uri="{FF2B5EF4-FFF2-40B4-BE49-F238E27FC236}">
                    <a16:creationId xmlns:a16="http://schemas.microsoft.com/office/drawing/2014/main" id="{F3AD1BA0-3C97-4763-8357-8C3D3508311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6"/>
                </p:custDataLst>
              </p:nvPr>
            </p:nvGrpSpPr>
            <p:grpSpPr>
              <a:xfrm>
                <a:off x="3505200" y="5486400"/>
                <a:ext cx="858016" cy="858016"/>
                <a:chOff x="3216274" y="3959755"/>
                <a:chExt cx="1080508" cy="1080508"/>
              </a:xfrm>
            </p:grpSpPr>
            <p:sp>
              <p:nvSpPr>
                <p:cNvPr id="53" name="Freihandform: Form 80">
                  <a:extLst>
                    <a:ext uri="{FF2B5EF4-FFF2-40B4-BE49-F238E27FC236}">
                      <a16:creationId xmlns:a16="http://schemas.microsoft.com/office/drawing/2014/main" id="{A6A6F1AE-84DA-4CD5-8980-F5F46C01B8F9}"/>
                    </a:ext>
                  </a:extLst>
                </p:cNvPr>
                <p:cNvSpPr/>
                <p:nvPr/>
              </p:nvSpPr>
              <p:spPr>
                <a:xfrm>
                  <a:off x="3216274" y="3959755"/>
                  <a:ext cx="1080508" cy="1080508"/>
                </a:xfrm>
                <a:custGeom>
                  <a:avLst/>
                  <a:gdLst>
                    <a:gd name="connsiteX0" fmla="*/ 1080508 w 1080508"/>
                    <a:gd name="connsiteY0" fmla="*/ 540254 h 1080508"/>
                    <a:gd name="connsiteX1" fmla="*/ 540254 w 1080508"/>
                    <a:gd name="connsiteY1" fmla="*/ 1080508 h 1080508"/>
                    <a:gd name="connsiteX2" fmla="*/ 0 w 1080508"/>
                    <a:gd name="connsiteY2" fmla="*/ 540254 h 1080508"/>
                    <a:gd name="connsiteX3" fmla="*/ 540254 w 1080508"/>
                    <a:gd name="connsiteY3" fmla="*/ 0 h 1080508"/>
                    <a:gd name="connsiteX4" fmla="*/ 1080508 w 1080508"/>
                    <a:gd name="connsiteY4" fmla="*/ 540254 h 1080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80508" h="1080508">
                      <a:moveTo>
                        <a:pt x="1080508" y="540254"/>
                      </a:moveTo>
                      <a:cubicBezTo>
                        <a:pt x="1080508" y="838628"/>
                        <a:pt x="838628" y="1080508"/>
                        <a:pt x="540254" y="1080508"/>
                      </a:cubicBezTo>
                      <a:cubicBezTo>
                        <a:pt x="241880" y="1080508"/>
                        <a:pt x="0" y="838628"/>
                        <a:pt x="0" y="540254"/>
                      </a:cubicBezTo>
                      <a:cubicBezTo>
                        <a:pt x="0" y="241880"/>
                        <a:pt x="241880" y="0"/>
                        <a:pt x="540254" y="0"/>
                      </a:cubicBezTo>
                      <a:cubicBezTo>
                        <a:pt x="838628" y="0"/>
                        <a:pt x="1080508" y="241880"/>
                        <a:pt x="1080508" y="540254"/>
                      </a:cubicBezTo>
                      <a:close/>
                    </a:path>
                  </a:pathLst>
                </a:custGeom>
                <a:noFill/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  <p:sp>
              <p:nvSpPr>
                <p:cNvPr id="54" name="Freihandform: Form 81">
                  <a:extLst>
                    <a:ext uri="{FF2B5EF4-FFF2-40B4-BE49-F238E27FC236}">
                      <a16:creationId xmlns:a16="http://schemas.microsoft.com/office/drawing/2014/main" id="{244FACBF-6A8B-4CF2-BE44-32CAF7E261F1}"/>
                    </a:ext>
                  </a:extLst>
                </p:cNvPr>
                <p:cNvSpPr/>
                <p:nvPr/>
              </p:nvSpPr>
              <p:spPr>
                <a:xfrm>
                  <a:off x="3503182" y="4215397"/>
                  <a:ext cx="506448" cy="569223"/>
                </a:xfrm>
                <a:custGeom>
                  <a:avLst/>
                  <a:gdLst>
                    <a:gd name="connsiteX0" fmla="*/ 42428 w 506448"/>
                    <a:gd name="connsiteY0" fmla="*/ 527040 h 569223"/>
                    <a:gd name="connsiteX1" fmla="*/ 84612 w 506448"/>
                    <a:gd name="connsiteY1" fmla="*/ 527040 h 569223"/>
                    <a:gd name="connsiteX2" fmla="*/ 148141 w 506448"/>
                    <a:gd name="connsiteY2" fmla="*/ 548132 h 569223"/>
                    <a:gd name="connsiteX3" fmla="*/ 324372 w 506448"/>
                    <a:gd name="connsiteY3" fmla="*/ 569224 h 569223"/>
                    <a:gd name="connsiteX4" fmla="*/ 388664 w 506448"/>
                    <a:gd name="connsiteY4" fmla="*/ 569224 h 569223"/>
                    <a:gd name="connsiteX5" fmla="*/ 424113 w 506448"/>
                    <a:gd name="connsiteY5" fmla="*/ 554231 h 569223"/>
                    <a:gd name="connsiteX6" fmla="*/ 432245 w 506448"/>
                    <a:gd name="connsiteY6" fmla="*/ 537713 h 569223"/>
                    <a:gd name="connsiteX7" fmla="*/ 432245 w 506448"/>
                    <a:gd name="connsiteY7" fmla="*/ 529835 h 569223"/>
                    <a:gd name="connsiteX8" fmla="*/ 409374 w 506448"/>
                    <a:gd name="connsiteY8" fmla="*/ 492480 h 569223"/>
                    <a:gd name="connsiteX9" fmla="*/ 409374 w 506448"/>
                    <a:gd name="connsiteY9" fmla="*/ 492480 h 569223"/>
                    <a:gd name="connsiteX10" fmla="*/ 437327 w 506448"/>
                    <a:gd name="connsiteY10" fmla="*/ 494005 h 569223"/>
                    <a:gd name="connsiteX11" fmla="*/ 485653 w 506448"/>
                    <a:gd name="connsiteY11" fmla="*/ 451545 h 569223"/>
                    <a:gd name="connsiteX12" fmla="*/ 485737 w 506448"/>
                    <a:gd name="connsiteY12" fmla="*/ 447628 h 569223"/>
                    <a:gd name="connsiteX13" fmla="*/ 441393 w 506448"/>
                    <a:gd name="connsiteY13" fmla="*/ 404174 h 569223"/>
                    <a:gd name="connsiteX14" fmla="*/ 455878 w 506448"/>
                    <a:gd name="connsiteY14" fmla="*/ 404809 h 569223"/>
                    <a:gd name="connsiteX15" fmla="*/ 501469 w 506448"/>
                    <a:gd name="connsiteY15" fmla="*/ 360452 h 569223"/>
                    <a:gd name="connsiteX16" fmla="*/ 459817 w 506448"/>
                    <a:gd name="connsiteY16" fmla="*/ 314979 h 569223"/>
                    <a:gd name="connsiteX17" fmla="*/ 506437 w 506448"/>
                    <a:gd name="connsiteY17" fmla="*/ 270394 h 569223"/>
                    <a:gd name="connsiteX18" fmla="*/ 465534 w 506448"/>
                    <a:gd name="connsiteY18" fmla="*/ 224005 h 569223"/>
                    <a:gd name="connsiteX19" fmla="*/ 303916 w 506448"/>
                    <a:gd name="connsiteY19" fmla="*/ 203294 h 569223"/>
                    <a:gd name="connsiteX20" fmla="*/ 337713 w 506448"/>
                    <a:gd name="connsiteY20" fmla="*/ 63529 h 569223"/>
                    <a:gd name="connsiteX21" fmla="*/ 274184 w 506448"/>
                    <a:gd name="connsiteY21" fmla="*/ 0 h 569223"/>
                    <a:gd name="connsiteX22" fmla="*/ 250805 w 506448"/>
                    <a:gd name="connsiteY22" fmla="*/ 35704 h 569223"/>
                    <a:gd name="connsiteX23" fmla="*/ 250805 w 506448"/>
                    <a:gd name="connsiteY23" fmla="*/ 35704 h 569223"/>
                    <a:gd name="connsiteX24" fmla="*/ 222344 w 506448"/>
                    <a:gd name="connsiteY24" fmla="*/ 115369 h 569223"/>
                    <a:gd name="connsiteX25" fmla="*/ 138866 w 506448"/>
                    <a:gd name="connsiteY25" fmla="*/ 189572 h 569223"/>
                    <a:gd name="connsiteX26" fmla="*/ 117139 w 506448"/>
                    <a:gd name="connsiteY26" fmla="*/ 219939 h 569223"/>
                    <a:gd name="connsiteX27" fmla="*/ 115360 w 506448"/>
                    <a:gd name="connsiteY27" fmla="*/ 222861 h 569223"/>
                    <a:gd name="connsiteX28" fmla="*/ 113200 w 506448"/>
                    <a:gd name="connsiteY28" fmla="*/ 227181 h 569223"/>
                    <a:gd name="connsiteX29" fmla="*/ 109388 w 506448"/>
                    <a:gd name="connsiteY29" fmla="*/ 234424 h 569223"/>
                    <a:gd name="connsiteX30" fmla="*/ 42428 w 506448"/>
                    <a:gd name="connsiteY30" fmla="*/ 252593 h 569223"/>
                    <a:gd name="connsiteX31" fmla="*/ 245 w 506448"/>
                    <a:gd name="connsiteY31" fmla="*/ 286156 h 569223"/>
                    <a:gd name="connsiteX32" fmla="*/ 245 w 506448"/>
                    <a:gd name="connsiteY32" fmla="*/ 294776 h 569223"/>
                    <a:gd name="connsiteX33" fmla="*/ 245 w 506448"/>
                    <a:gd name="connsiteY33" fmla="*/ 487906 h 569223"/>
                    <a:gd name="connsiteX34" fmla="*/ 42428 w 506448"/>
                    <a:gd name="connsiteY34" fmla="*/ 527040 h 569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506448" h="569223">
                      <a:moveTo>
                        <a:pt x="42428" y="527040"/>
                      </a:moveTo>
                      <a:lnTo>
                        <a:pt x="84612" y="527040"/>
                      </a:lnTo>
                      <a:cubicBezTo>
                        <a:pt x="105831" y="527040"/>
                        <a:pt x="122730" y="539746"/>
                        <a:pt x="148141" y="548132"/>
                      </a:cubicBezTo>
                      <a:cubicBezTo>
                        <a:pt x="182955" y="560202"/>
                        <a:pt x="234923" y="569224"/>
                        <a:pt x="324372" y="569224"/>
                      </a:cubicBezTo>
                      <a:lnTo>
                        <a:pt x="388664" y="569224"/>
                      </a:lnTo>
                      <a:cubicBezTo>
                        <a:pt x="401972" y="568986"/>
                        <a:pt x="414674" y="563614"/>
                        <a:pt x="424113" y="554231"/>
                      </a:cubicBezTo>
                      <a:cubicBezTo>
                        <a:pt x="428603" y="549795"/>
                        <a:pt x="431467" y="543976"/>
                        <a:pt x="432245" y="537713"/>
                      </a:cubicBezTo>
                      <a:cubicBezTo>
                        <a:pt x="432245" y="536315"/>
                        <a:pt x="432245" y="530598"/>
                        <a:pt x="432245" y="529835"/>
                      </a:cubicBezTo>
                      <a:cubicBezTo>
                        <a:pt x="434545" y="513515"/>
                        <a:pt x="424956" y="497853"/>
                        <a:pt x="409374" y="492480"/>
                      </a:cubicBezTo>
                      <a:cubicBezTo>
                        <a:pt x="409374" y="492480"/>
                        <a:pt x="409374" y="492480"/>
                        <a:pt x="409374" y="492480"/>
                      </a:cubicBezTo>
                      <a:lnTo>
                        <a:pt x="437327" y="494005"/>
                      </a:lnTo>
                      <a:cubicBezTo>
                        <a:pt x="462397" y="495625"/>
                        <a:pt x="484033" y="476615"/>
                        <a:pt x="485653" y="451545"/>
                      </a:cubicBezTo>
                      <a:cubicBezTo>
                        <a:pt x="485737" y="450242"/>
                        <a:pt x="485765" y="448934"/>
                        <a:pt x="485737" y="447628"/>
                      </a:cubicBezTo>
                      <a:cubicBezTo>
                        <a:pt x="485253" y="423486"/>
                        <a:pt x="465541" y="404169"/>
                        <a:pt x="441393" y="404174"/>
                      </a:cubicBezTo>
                      <a:lnTo>
                        <a:pt x="455878" y="404809"/>
                      </a:lnTo>
                      <a:cubicBezTo>
                        <a:pt x="480717" y="405150"/>
                        <a:pt x="501129" y="385291"/>
                        <a:pt x="501469" y="360452"/>
                      </a:cubicBezTo>
                      <a:cubicBezTo>
                        <a:pt x="501796" y="336664"/>
                        <a:pt x="483542" y="316736"/>
                        <a:pt x="459817" y="314979"/>
                      </a:cubicBezTo>
                      <a:cubicBezTo>
                        <a:pt x="485002" y="315540"/>
                        <a:pt x="505876" y="295580"/>
                        <a:pt x="506437" y="270394"/>
                      </a:cubicBezTo>
                      <a:cubicBezTo>
                        <a:pt x="506968" y="246638"/>
                        <a:pt x="489171" y="226453"/>
                        <a:pt x="465534" y="224005"/>
                      </a:cubicBezTo>
                      <a:lnTo>
                        <a:pt x="303916" y="203294"/>
                      </a:lnTo>
                      <a:cubicBezTo>
                        <a:pt x="326515" y="160198"/>
                        <a:pt x="338126" y="112189"/>
                        <a:pt x="337713" y="63529"/>
                      </a:cubicBezTo>
                      <a:cubicBezTo>
                        <a:pt x="337713" y="7751"/>
                        <a:pt x="297817" y="0"/>
                        <a:pt x="274184" y="0"/>
                      </a:cubicBezTo>
                      <a:cubicBezTo>
                        <a:pt x="255760" y="0"/>
                        <a:pt x="250805" y="35704"/>
                        <a:pt x="250805" y="35704"/>
                      </a:cubicBezTo>
                      <a:lnTo>
                        <a:pt x="250805" y="35704"/>
                      </a:lnTo>
                      <a:cubicBezTo>
                        <a:pt x="245899" y="63679"/>
                        <a:pt x="236276" y="90618"/>
                        <a:pt x="222344" y="115369"/>
                      </a:cubicBezTo>
                      <a:cubicBezTo>
                        <a:pt x="201252" y="156664"/>
                        <a:pt x="172410" y="152852"/>
                        <a:pt x="138866" y="189572"/>
                      </a:cubicBezTo>
                      <a:cubicBezTo>
                        <a:pt x="130661" y="198969"/>
                        <a:pt x="123384" y="209139"/>
                        <a:pt x="117139" y="219939"/>
                      </a:cubicBezTo>
                      <a:cubicBezTo>
                        <a:pt x="116406" y="220821"/>
                        <a:pt x="115806" y="221805"/>
                        <a:pt x="115360" y="222861"/>
                      </a:cubicBezTo>
                      <a:cubicBezTo>
                        <a:pt x="114725" y="224513"/>
                        <a:pt x="113836" y="225656"/>
                        <a:pt x="113200" y="227181"/>
                      </a:cubicBezTo>
                      <a:cubicBezTo>
                        <a:pt x="111805" y="229528"/>
                        <a:pt x="110532" y="231945"/>
                        <a:pt x="109388" y="234424"/>
                      </a:cubicBezTo>
                      <a:cubicBezTo>
                        <a:pt x="88678" y="255007"/>
                        <a:pt x="56151" y="252593"/>
                        <a:pt x="42428" y="252593"/>
                      </a:cubicBezTo>
                      <a:cubicBezTo>
                        <a:pt x="21512" y="250212"/>
                        <a:pt x="2626" y="265239"/>
                        <a:pt x="245" y="286156"/>
                      </a:cubicBezTo>
                      <a:cubicBezTo>
                        <a:pt x="-82" y="289019"/>
                        <a:pt x="-82" y="291913"/>
                        <a:pt x="245" y="294776"/>
                      </a:cubicBezTo>
                      <a:lnTo>
                        <a:pt x="245" y="487906"/>
                      </a:lnTo>
                      <a:cubicBezTo>
                        <a:pt x="245" y="517256"/>
                        <a:pt x="12315" y="527040"/>
                        <a:pt x="42428" y="52704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6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IN" dirty="0"/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26926276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IN" dirty="0"/>
              <a:t>Limitations</a:t>
            </a:r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id="{4D630BAA-1EC2-C6E7-C7EE-8762FC9625D0}"/>
              </a:ext>
            </a:extLst>
          </p:cNvPr>
          <p:cNvGrpSpPr/>
          <p:nvPr/>
        </p:nvGrpSpPr>
        <p:grpSpPr>
          <a:xfrm>
            <a:off x="602079" y="2836286"/>
            <a:ext cx="1683921" cy="1659514"/>
            <a:chOff x="1982040" y="2447661"/>
            <a:chExt cx="2062948" cy="2007784"/>
          </a:xfrm>
        </p:grpSpPr>
        <p:sp>
          <p:nvSpPr>
            <p:cNvPr id="5" name="Oval 36">
              <a:extLst>
                <a:ext uri="{FF2B5EF4-FFF2-40B4-BE49-F238E27FC236}">
                  <a16:creationId xmlns:a16="http://schemas.microsoft.com/office/drawing/2014/main" id="{1501EF7D-0999-3E44-AC09-628424A12CA2}"/>
                </a:ext>
              </a:extLst>
            </p:cNvPr>
            <p:cNvSpPr/>
            <p:nvPr/>
          </p:nvSpPr>
          <p:spPr>
            <a:xfrm>
              <a:off x="2004762" y="2447661"/>
              <a:ext cx="2007784" cy="200778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Oval 37">
              <a:extLst>
                <a:ext uri="{FF2B5EF4-FFF2-40B4-BE49-F238E27FC236}">
                  <a16:creationId xmlns:a16="http://schemas.microsoft.com/office/drawing/2014/main" id="{44B15514-CD0E-4DD0-5F9D-7F983D7C6713}"/>
                </a:ext>
              </a:extLst>
            </p:cNvPr>
            <p:cNvSpPr/>
            <p:nvPr/>
          </p:nvSpPr>
          <p:spPr>
            <a:xfrm>
              <a:off x="2190878" y="2633777"/>
              <a:ext cx="1635552" cy="16355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38">
              <a:extLst>
                <a:ext uri="{FF2B5EF4-FFF2-40B4-BE49-F238E27FC236}">
                  <a16:creationId xmlns:a16="http://schemas.microsoft.com/office/drawing/2014/main" id="{142E60CF-0C38-E2E4-B618-8803212AF466}"/>
                </a:ext>
              </a:extLst>
            </p:cNvPr>
            <p:cNvSpPr txBox="1"/>
            <p:nvPr/>
          </p:nvSpPr>
          <p:spPr>
            <a:xfrm>
              <a:off x="1982040" y="3164764"/>
              <a:ext cx="2062948" cy="5904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sz="3200" b="1" dirty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rPr>
                <a:t>HISIG</a:t>
              </a:r>
              <a:endParaRPr lang="en-IN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C7C9775A-FCA4-510E-4B04-48929E87B454}"/>
              </a:ext>
            </a:extLst>
          </p:cNvPr>
          <p:cNvSpPr/>
          <p:nvPr/>
        </p:nvSpPr>
        <p:spPr>
          <a:xfrm>
            <a:off x="1793865" y="4607971"/>
            <a:ext cx="124770" cy="12537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reihandform 5">
            <a:extLst>
              <a:ext uri="{FF2B5EF4-FFF2-40B4-BE49-F238E27FC236}">
                <a16:creationId xmlns:a16="http://schemas.microsoft.com/office/drawing/2014/main" id="{A2ECAD72-830E-F65F-C29E-14E01CC9187E}"/>
              </a:ext>
            </a:extLst>
          </p:cNvPr>
          <p:cNvSpPr/>
          <p:nvPr/>
        </p:nvSpPr>
        <p:spPr bwMode="auto">
          <a:xfrm>
            <a:off x="1874155" y="4687703"/>
            <a:ext cx="1627000" cy="840039"/>
          </a:xfrm>
          <a:custGeom>
            <a:avLst/>
            <a:gdLst>
              <a:gd name="connsiteX0" fmla="*/ 1450848 w 1450848"/>
              <a:gd name="connsiteY0" fmla="*/ 792480 h 792480"/>
              <a:gd name="connsiteX1" fmla="*/ 780288 w 1450848"/>
              <a:gd name="connsiteY1" fmla="*/ 792480 h 792480"/>
              <a:gd name="connsiteX2" fmla="*/ 0 w 1450848"/>
              <a:gd name="connsiteY2" fmla="*/ 0 h 79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0848" h="792480">
                <a:moveTo>
                  <a:pt x="1450848" y="792480"/>
                </a:moveTo>
                <a:lnTo>
                  <a:pt x="780288" y="79248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IN" sz="4267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88E2F5D-B11B-AE2D-BFCB-14BB574927A7}"/>
              </a:ext>
            </a:extLst>
          </p:cNvPr>
          <p:cNvSpPr/>
          <p:nvPr/>
        </p:nvSpPr>
        <p:spPr bwMode="auto">
          <a:xfrm>
            <a:off x="3501152" y="5088875"/>
            <a:ext cx="8005048" cy="883187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216000" indent="-216000" defTabSz="576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</a:pPr>
            <a:endParaRPr lang="en-IN" sz="1800" dirty="0"/>
          </a:p>
        </p:txBody>
      </p:sp>
      <p:graphicFrame>
        <p:nvGraphicFramePr>
          <p:cNvPr id="56" name="Diagram 55">
            <a:extLst>
              <a:ext uri="{FF2B5EF4-FFF2-40B4-BE49-F238E27FC236}">
                <a16:creationId xmlns:a16="http://schemas.microsoft.com/office/drawing/2014/main" id="{F59A442E-EAD8-4910-A148-9E6233ADBE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0905091"/>
              </p:ext>
            </p:extLst>
          </p:nvPr>
        </p:nvGraphicFramePr>
        <p:xfrm>
          <a:off x="4542543" y="5088876"/>
          <a:ext cx="7039857" cy="883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3" name="Attention">
            <a:extLst>
              <a:ext uri="{FF2B5EF4-FFF2-40B4-BE49-F238E27FC236}">
                <a16:creationId xmlns:a16="http://schemas.microsoft.com/office/drawing/2014/main" id="{90DE51D2-B413-4AEB-BB43-EBC582A43E5D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823517" y="5348830"/>
            <a:ext cx="406778" cy="357826"/>
          </a:xfrm>
          <a:custGeom>
            <a:avLst/>
            <a:gdLst>
              <a:gd name="connsiteX0" fmla="*/ 627580 w 633114"/>
              <a:gd name="connsiteY0" fmla="*/ 503274 h 556924"/>
              <a:gd name="connsiteX1" fmla="*/ 348050 w 633114"/>
              <a:gd name="connsiteY1" fmla="*/ 17909 h 556924"/>
              <a:gd name="connsiteX2" fmla="*/ 300708 w 633114"/>
              <a:gd name="connsiteY2" fmla="*/ 4390 h 556924"/>
              <a:gd name="connsiteX3" fmla="*/ 287189 w 633114"/>
              <a:gd name="connsiteY3" fmla="*/ 17909 h 556924"/>
              <a:gd name="connsiteX4" fmla="*/ 4991 w 633114"/>
              <a:gd name="connsiteY4" fmla="*/ 504290 h 556924"/>
              <a:gd name="connsiteX5" fmla="*/ 16774 w 633114"/>
              <a:gd name="connsiteY5" fmla="*/ 551909 h 556924"/>
              <a:gd name="connsiteX6" fmla="*/ 35104 w 633114"/>
              <a:gd name="connsiteY6" fmla="*/ 556892 h 556924"/>
              <a:gd name="connsiteX7" fmla="*/ 596831 w 633114"/>
              <a:gd name="connsiteY7" fmla="*/ 556892 h 556924"/>
              <a:gd name="connsiteX8" fmla="*/ 633084 w 633114"/>
              <a:gd name="connsiteY8" fmla="*/ 523579 h 556924"/>
              <a:gd name="connsiteX9" fmla="*/ 627580 w 633114"/>
              <a:gd name="connsiteY9" fmla="*/ 503274 h 556924"/>
              <a:gd name="connsiteX10" fmla="*/ 342841 w 633114"/>
              <a:gd name="connsiteY10" fmla="*/ 471128 h 556924"/>
              <a:gd name="connsiteX11" fmla="*/ 313871 w 633114"/>
              <a:gd name="connsiteY11" fmla="*/ 483834 h 556924"/>
              <a:gd name="connsiteX12" fmla="*/ 286681 w 633114"/>
              <a:gd name="connsiteY12" fmla="*/ 473034 h 556924"/>
              <a:gd name="connsiteX13" fmla="*/ 276008 w 633114"/>
              <a:gd name="connsiteY13" fmla="*/ 445843 h 556924"/>
              <a:gd name="connsiteX14" fmla="*/ 286172 w 633114"/>
              <a:gd name="connsiteY14" fmla="*/ 417509 h 556924"/>
              <a:gd name="connsiteX15" fmla="*/ 313871 w 633114"/>
              <a:gd name="connsiteY15" fmla="*/ 404803 h 556924"/>
              <a:gd name="connsiteX16" fmla="*/ 343095 w 633114"/>
              <a:gd name="connsiteY16" fmla="*/ 415984 h 556924"/>
              <a:gd name="connsiteX17" fmla="*/ 354530 w 633114"/>
              <a:gd name="connsiteY17" fmla="*/ 443429 h 556924"/>
              <a:gd name="connsiteX18" fmla="*/ 342841 w 633114"/>
              <a:gd name="connsiteY18" fmla="*/ 471128 h 556924"/>
              <a:gd name="connsiteX19" fmla="*/ 342841 w 633114"/>
              <a:gd name="connsiteY19" fmla="*/ 303664 h 556924"/>
              <a:gd name="connsiteX20" fmla="*/ 331278 w 633114"/>
              <a:gd name="connsiteY20" fmla="*/ 372403 h 556924"/>
              <a:gd name="connsiteX21" fmla="*/ 330008 w 633114"/>
              <a:gd name="connsiteY21" fmla="*/ 381932 h 556924"/>
              <a:gd name="connsiteX22" fmla="*/ 324163 w 633114"/>
              <a:gd name="connsiteY22" fmla="*/ 383203 h 556924"/>
              <a:gd name="connsiteX23" fmla="*/ 308535 w 633114"/>
              <a:gd name="connsiteY23" fmla="*/ 383203 h 556924"/>
              <a:gd name="connsiteX24" fmla="*/ 302690 w 633114"/>
              <a:gd name="connsiteY24" fmla="*/ 382059 h 556924"/>
              <a:gd name="connsiteX25" fmla="*/ 301547 w 633114"/>
              <a:gd name="connsiteY25" fmla="*/ 373801 h 556924"/>
              <a:gd name="connsiteX26" fmla="*/ 285537 w 633114"/>
              <a:gd name="connsiteY26" fmla="*/ 275711 h 556924"/>
              <a:gd name="connsiteX27" fmla="*/ 272831 w 633114"/>
              <a:gd name="connsiteY27" fmla="*/ 200747 h 556924"/>
              <a:gd name="connsiteX28" fmla="*/ 284521 w 633114"/>
              <a:gd name="connsiteY28" fmla="*/ 176478 h 556924"/>
              <a:gd name="connsiteX29" fmla="*/ 317556 w 633114"/>
              <a:gd name="connsiteY29" fmla="*/ 166441 h 556924"/>
              <a:gd name="connsiteX30" fmla="*/ 348812 w 633114"/>
              <a:gd name="connsiteY30" fmla="*/ 177241 h 556924"/>
              <a:gd name="connsiteX31" fmla="*/ 359485 w 633114"/>
              <a:gd name="connsiteY31" fmla="*/ 202652 h 556924"/>
              <a:gd name="connsiteX32" fmla="*/ 342587 w 633114"/>
              <a:gd name="connsiteY32" fmla="*/ 303664 h 55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33114" h="556924">
                <a:moveTo>
                  <a:pt x="627580" y="503274"/>
                </a:moveTo>
                <a:cubicBezTo>
                  <a:pt x="614874" y="481801"/>
                  <a:pt x="368507" y="54375"/>
                  <a:pt x="348050" y="17909"/>
                </a:cubicBezTo>
                <a:cubicBezTo>
                  <a:pt x="338710" y="1103"/>
                  <a:pt x="317514" y="-4950"/>
                  <a:pt x="300708" y="4390"/>
                </a:cubicBezTo>
                <a:cubicBezTo>
                  <a:pt x="295028" y="7546"/>
                  <a:pt x="290345" y="12229"/>
                  <a:pt x="287189" y="17909"/>
                </a:cubicBezTo>
                <a:cubicBezTo>
                  <a:pt x="270544" y="44083"/>
                  <a:pt x="22525" y="473288"/>
                  <a:pt x="4991" y="504290"/>
                </a:cubicBezTo>
                <a:cubicBezTo>
                  <a:pt x="-4904" y="520693"/>
                  <a:pt x="371" y="542013"/>
                  <a:pt x="16774" y="551909"/>
                </a:cubicBezTo>
                <a:cubicBezTo>
                  <a:pt x="22302" y="555243"/>
                  <a:pt x="28650" y="556969"/>
                  <a:pt x="35104" y="556892"/>
                </a:cubicBezTo>
                <a:lnTo>
                  <a:pt x="596831" y="556892"/>
                </a:lnTo>
                <a:cubicBezTo>
                  <a:pt x="616041" y="557704"/>
                  <a:pt x="632272" y="542789"/>
                  <a:pt x="633084" y="523579"/>
                </a:cubicBezTo>
                <a:cubicBezTo>
                  <a:pt x="633387" y="516405"/>
                  <a:pt x="631464" y="509312"/>
                  <a:pt x="627580" y="503274"/>
                </a:cubicBezTo>
                <a:close/>
                <a:moveTo>
                  <a:pt x="342841" y="471128"/>
                </a:moveTo>
                <a:cubicBezTo>
                  <a:pt x="335480" y="479359"/>
                  <a:pt x="324912" y="483994"/>
                  <a:pt x="313871" y="483834"/>
                </a:cubicBezTo>
                <a:cubicBezTo>
                  <a:pt x="303695" y="484202"/>
                  <a:pt x="293831" y="480284"/>
                  <a:pt x="286681" y="473034"/>
                </a:cubicBezTo>
                <a:cubicBezTo>
                  <a:pt x="279567" y="465803"/>
                  <a:pt x="275713" y="455982"/>
                  <a:pt x="276008" y="445843"/>
                </a:cubicBezTo>
                <a:cubicBezTo>
                  <a:pt x="275878" y="435483"/>
                  <a:pt x="279487" y="425424"/>
                  <a:pt x="286172" y="417509"/>
                </a:cubicBezTo>
                <a:cubicBezTo>
                  <a:pt x="292914" y="409180"/>
                  <a:pt x="303161" y="404480"/>
                  <a:pt x="313871" y="404803"/>
                </a:cubicBezTo>
                <a:cubicBezTo>
                  <a:pt x="324731" y="404381"/>
                  <a:pt x="335291" y="408421"/>
                  <a:pt x="343095" y="415984"/>
                </a:cubicBezTo>
                <a:cubicBezTo>
                  <a:pt x="350579" y="423129"/>
                  <a:pt x="354726" y="433084"/>
                  <a:pt x="354530" y="443429"/>
                </a:cubicBezTo>
                <a:cubicBezTo>
                  <a:pt x="354449" y="453844"/>
                  <a:pt x="350246" y="463804"/>
                  <a:pt x="342841" y="471128"/>
                </a:cubicBezTo>
                <a:close/>
                <a:moveTo>
                  <a:pt x="342841" y="303664"/>
                </a:moveTo>
                <a:cubicBezTo>
                  <a:pt x="335344" y="343561"/>
                  <a:pt x="331405" y="366431"/>
                  <a:pt x="331278" y="372403"/>
                </a:cubicBezTo>
                <a:cubicBezTo>
                  <a:pt x="331151" y="378375"/>
                  <a:pt x="331278" y="381170"/>
                  <a:pt x="330008" y="381932"/>
                </a:cubicBezTo>
                <a:cubicBezTo>
                  <a:pt x="328737" y="382695"/>
                  <a:pt x="327340" y="383203"/>
                  <a:pt x="324163" y="383203"/>
                </a:cubicBezTo>
                <a:lnTo>
                  <a:pt x="308535" y="383203"/>
                </a:lnTo>
                <a:cubicBezTo>
                  <a:pt x="305358" y="383203"/>
                  <a:pt x="303325" y="383203"/>
                  <a:pt x="302690" y="382059"/>
                </a:cubicBezTo>
                <a:cubicBezTo>
                  <a:pt x="301592" y="379454"/>
                  <a:pt x="301198" y="376606"/>
                  <a:pt x="301547" y="373801"/>
                </a:cubicBezTo>
                <a:cubicBezTo>
                  <a:pt x="301547" y="366812"/>
                  <a:pt x="296210" y="334031"/>
                  <a:pt x="285537" y="275711"/>
                </a:cubicBezTo>
                <a:cubicBezTo>
                  <a:pt x="277278" y="229589"/>
                  <a:pt x="272831" y="204685"/>
                  <a:pt x="272831" y="200747"/>
                </a:cubicBezTo>
                <a:cubicBezTo>
                  <a:pt x="272826" y="191299"/>
                  <a:pt x="277130" y="182364"/>
                  <a:pt x="284521" y="176478"/>
                </a:cubicBezTo>
                <a:cubicBezTo>
                  <a:pt x="293946" y="169228"/>
                  <a:pt x="305690" y="165660"/>
                  <a:pt x="317556" y="166441"/>
                </a:cubicBezTo>
                <a:cubicBezTo>
                  <a:pt x="329008" y="165651"/>
                  <a:pt x="340290" y="169549"/>
                  <a:pt x="348812" y="177241"/>
                </a:cubicBezTo>
                <a:cubicBezTo>
                  <a:pt x="355689" y="183900"/>
                  <a:pt x="359545" y="193080"/>
                  <a:pt x="359485" y="202652"/>
                </a:cubicBezTo>
                <a:cubicBezTo>
                  <a:pt x="359867" y="209132"/>
                  <a:pt x="354149" y="242930"/>
                  <a:pt x="342587" y="303664"/>
                </a:cubicBezTo>
                <a:close/>
              </a:path>
            </a:pathLst>
          </a:custGeom>
          <a:solidFill>
            <a:schemeClr val="accent1"/>
          </a:solidFill>
          <a:ln w="12663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13" name="Oval 15">
            <a:extLst>
              <a:ext uri="{FF2B5EF4-FFF2-40B4-BE49-F238E27FC236}">
                <a16:creationId xmlns:a16="http://schemas.microsoft.com/office/drawing/2014/main" id="{754B9F72-BADE-8FC9-B98A-C9BDECF3AF7B}"/>
              </a:ext>
            </a:extLst>
          </p:cNvPr>
          <p:cNvSpPr/>
          <p:nvPr/>
        </p:nvSpPr>
        <p:spPr>
          <a:xfrm>
            <a:off x="2319883" y="3303621"/>
            <a:ext cx="124770" cy="12537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ihandform 19">
            <a:extLst>
              <a:ext uri="{FF2B5EF4-FFF2-40B4-BE49-F238E27FC236}">
                <a16:creationId xmlns:a16="http://schemas.microsoft.com/office/drawing/2014/main" id="{53201A3A-6BA0-B3AF-DF3F-21394B2E048B}"/>
              </a:ext>
            </a:extLst>
          </p:cNvPr>
          <p:cNvSpPr/>
          <p:nvPr/>
        </p:nvSpPr>
        <p:spPr bwMode="auto">
          <a:xfrm flipV="1">
            <a:off x="2429853" y="2994103"/>
            <a:ext cx="1071302" cy="352085"/>
          </a:xfrm>
          <a:custGeom>
            <a:avLst/>
            <a:gdLst>
              <a:gd name="connsiteX0" fmla="*/ 1450848 w 1450848"/>
              <a:gd name="connsiteY0" fmla="*/ 792480 h 792480"/>
              <a:gd name="connsiteX1" fmla="*/ 780288 w 1450848"/>
              <a:gd name="connsiteY1" fmla="*/ 792480 h 792480"/>
              <a:gd name="connsiteX2" fmla="*/ 0 w 1450848"/>
              <a:gd name="connsiteY2" fmla="*/ 0 h 79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0848" h="792480">
                <a:moveTo>
                  <a:pt x="1450848" y="792480"/>
                </a:moveTo>
                <a:lnTo>
                  <a:pt x="780288" y="79248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IN" sz="4267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A1CC6BA-DCBF-543A-F777-A8811EEA9933}"/>
              </a:ext>
            </a:extLst>
          </p:cNvPr>
          <p:cNvSpPr/>
          <p:nvPr/>
        </p:nvSpPr>
        <p:spPr bwMode="auto">
          <a:xfrm>
            <a:off x="3501152" y="2572761"/>
            <a:ext cx="8005048" cy="883187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216000" indent="-216000" defTabSz="576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</a:pPr>
            <a:endParaRPr lang="en-IN" sz="1800" dirty="0"/>
          </a:p>
        </p:txBody>
      </p:sp>
      <p:graphicFrame>
        <p:nvGraphicFramePr>
          <p:cNvPr id="54" name="Diagram 53">
            <a:extLst>
              <a:ext uri="{FF2B5EF4-FFF2-40B4-BE49-F238E27FC236}">
                <a16:creationId xmlns:a16="http://schemas.microsoft.com/office/drawing/2014/main" id="{8FB26AC4-2C73-44C2-879D-2EBADBAFB4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0870699"/>
              </p:ext>
            </p:extLst>
          </p:nvPr>
        </p:nvGraphicFramePr>
        <p:xfrm>
          <a:off x="4542543" y="2572761"/>
          <a:ext cx="7039857" cy="883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31" name="Attention">
            <a:extLst>
              <a:ext uri="{FF2B5EF4-FFF2-40B4-BE49-F238E27FC236}">
                <a16:creationId xmlns:a16="http://schemas.microsoft.com/office/drawing/2014/main" id="{1D57656B-1EFF-4E50-8EB2-C066C4F0FA53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818460" y="2835441"/>
            <a:ext cx="406778" cy="357826"/>
          </a:xfrm>
          <a:custGeom>
            <a:avLst/>
            <a:gdLst>
              <a:gd name="connsiteX0" fmla="*/ 627580 w 633114"/>
              <a:gd name="connsiteY0" fmla="*/ 503274 h 556924"/>
              <a:gd name="connsiteX1" fmla="*/ 348050 w 633114"/>
              <a:gd name="connsiteY1" fmla="*/ 17909 h 556924"/>
              <a:gd name="connsiteX2" fmla="*/ 300708 w 633114"/>
              <a:gd name="connsiteY2" fmla="*/ 4390 h 556924"/>
              <a:gd name="connsiteX3" fmla="*/ 287189 w 633114"/>
              <a:gd name="connsiteY3" fmla="*/ 17909 h 556924"/>
              <a:gd name="connsiteX4" fmla="*/ 4991 w 633114"/>
              <a:gd name="connsiteY4" fmla="*/ 504290 h 556924"/>
              <a:gd name="connsiteX5" fmla="*/ 16774 w 633114"/>
              <a:gd name="connsiteY5" fmla="*/ 551909 h 556924"/>
              <a:gd name="connsiteX6" fmla="*/ 35104 w 633114"/>
              <a:gd name="connsiteY6" fmla="*/ 556892 h 556924"/>
              <a:gd name="connsiteX7" fmla="*/ 596831 w 633114"/>
              <a:gd name="connsiteY7" fmla="*/ 556892 h 556924"/>
              <a:gd name="connsiteX8" fmla="*/ 633084 w 633114"/>
              <a:gd name="connsiteY8" fmla="*/ 523579 h 556924"/>
              <a:gd name="connsiteX9" fmla="*/ 627580 w 633114"/>
              <a:gd name="connsiteY9" fmla="*/ 503274 h 556924"/>
              <a:gd name="connsiteX10" fmla="*/ 342841 w 633114"/>
              <a:gd name="connsiteY10" fmla="*/ 471128 h 556924"/>
              <a:gd name="connsiteX11" fmla="*/ 313871 w 633114"/>
              <a:gd name="connsiteY11" fmla="*/ 483834 h 556924"/>
              <a:gd name="connsiteX12" fmla="*/ 286681 w 633114"/>
              <a:gd name="connsiteY12" fmla="*/ 473034 h 556924"/>
              <a:gd name="connsiteX13" fmla="*/ 276008 w 633114"/>
              <a:gd name="connsiteY13" fmla="*/ 445843 h 556924"/>
              <a:gd name="connsiteX14" fmla="*/ 286172 w 633114"/>
              <a:gd name="connsiteY14" fmla="*/ 417509 h 556924"/>
              <a:gd name="connsiteX15" fmla="*/ 313871 w 633114"/>
              <a:gd name="connsiteY15" fmla="*/ 404803 h 556924"/>
              <a:gd name="connsiteX16" fmla="*/ 343095 w 633114"/>
              <a:gd name="connsiteY16" fmla="*/ 415984 h 556924"/>
              <a:gd name="connsiteX17" fmla="*/ 354530 w 633114"/>
              <a:gd name="connsiteY17" fmla="*/ 443429 h 556924"/>
              <a:gd name="connsiteX18" fmla="*/ 342841 w 633114"/>
              <a:gd name="connsiteY18" fmla="*/ 471128 h 556924"/>
              <a:gd name="connsiteX19" fmla="*/ 342841 w 633114"/>
              <a:gd name="connsiteY19" fmla="*/ 303664 h 556924"/>
              <a:gd name="connsiteX20" fmla="*/ 331278 w 633114"/>
              <a:gd name="connsiteY20" fmla="*/ 372403 h 556924"/>
              <a:gd name="connsiteX21" fmla="*/ 330008 w 633114"/>
              <a:gd name="connsiteY21" fmla="*/ 381932 h 556924"/>
              <a:gd name="connsiteX22" fmla="*/ 324163 w 633114"/>
              <a:gd name="connsiteY22" fmla="*/ 383203 h 556924"/>
              <a:gd name="connsiteX23" fmla="*/ 308535 w 633114"/>
              <a:gd name="connsiteY23" fmla="*/ 383203 h 556924"/>
              <a:gd name="connsiteX24" fmla="*/ 302690 w 633114"/>
              <a:gd name="connsiteY24" fmla="*/ 382059 h 556924"/>
              <a:gd name="connsiteX25" fmla="*/ 301547 w 633114"/>
              <a:gd name="connsiteY25" fmla="*/ 373801 h 556924"/>
              <a:gd name="connsiteX26" fmla="*/ 285537 w 633114"/>
              <a:gd name="connsiteY26" fmla="*/ 275711 h 556924"/>
              <a:gd name="connsiteX27" fmla="*/ 272831 w 633114"/>
              <a:gd name="connsiteY27" fmla="*/ 200747 h 556924"/>
              <a:gd name="connsiteX28" fmla="*/ 284521 w 633114"/>
              <a:gd name="connsiteY28" fmla="*/ 176478 h 556924"/>
              <a:gd name="connsiteX29" fmla="*/ 317556 w 633114"/>
              <a:gd name="connsiteY29" fmla="*/ 166441 h 556924"/>
              <a:gd name="connsiteX30" fmla="*/ 348812 w 633114"/>
              <a:gd name="connsiteY30" fmla="*/ 177241 h 556924"/>
              <a:gd name="connsiteX31" fmla="*/ 359485 w 633114"/>
              <a:gd name="connsiteY31" fmla="*/ 202652 h 556924"/>
              <a:gd name="connsiteX32" fmla="*/ 342587 w 633114"/>
              <a:gd name="connsiteY32" fmla="*/ 303664 h 55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33114" h="556924">
                <a:moveTo>
                  <a:pt x="627580" y="503274"/>
                </a:moveTo>
                <a:cubicBezTo>
                  <a:pt x="614874" y="481801"/>
                  <a:pt x="368507" y="54375"/>
                  <a:pt x="348050" y="17909"/>
                </a:cubicBezTo>
                <a:cubicBezTo>
                  <a:pt x="338710" y="1103"/>
                  <a:pt x="317514" y="-4950"/>
                  <a:pt x="300708" y="4390"/>
                </a:cubicBezTo>
                <a:cubicBezTo>
                  <a:pt x="295028" y="7546"/>
                  <a:pt x="290345" y="12229"/>
                  <a:pt x="287189" y="17909"/>
                </a:cubicBezTo>
                <a:cubicBezTo>
                  <a:pt x="270544" y="44083"/>
                  <a:pt x="22525" y="473288"/>
                  <a:pt x="4991" y="504290"/>
                </a:cubicBezTo>
                <a:cubicBezTo>
                  <a:pt x="-4904" y="520693"/>
                  <a:pt x="371" y="542013"/>
                  <a:pt x="16774" y="551909"/>
                </a:cubicBezTo>
                <a:cubicBezTo>
                  <a:pt x="22302" y="555243"/>
                  <a:pt x="28650" y="556969"/>
                  <a:pt x="35104" y="556892"/>
                </a:cubicBezTo>
                <a:lnTo>
                  <a:pt x="596831" y="556892"/>
                </a:lnTo>
                <a:cubicBezTo>
                  <a:pt x="616041" y="557704"/>
                  <a:pt x="632272" y="542789"/>
                  <a:pt x="633084" y="523579"/>
                </a:cubicBezTo>
                <a:cubicBezTo>
                  <a:pt x="633387" y="516405"/>
                  <a:pt x="631464" y="509312"/>
                  <a:pt x="627580" y="503274"/>
                </a:cubicBezTo>
                <a:close/>
                <a:moveTo>
                  <a:pt x="342841" y="471128"/>
                </a:moveTo>
                <a:cubicBezTo>
                  <a:pt x="335480" y="479359"/>
                  <a:pt x="324912" y="483994"/>
                  <a:pt x="313871" y="483834"/>
                </a:cubicBezTo>
                <a:cubicBezTo>
                  <a:pt x="303695" y="484202"/>
                  <a:pt x="293831" y="480284"/>
                  <a:pt x="286681" y="473034"/>
                </a:cubicBezTo>
                <a:cubicBezTo>
                  <a:pt x="279567" y="465803"/>
                  <a:pt x="275713" y="455982"/>
                  <a:pt x="276008" y="445843"/>
                </a:cubicBezTo>
                <a:cubicBezTo>
                  <a:pt x="275878" y="435483"/>
                  <a:pt x="279487" y="425424"/>
                  <a:pt x="286172" y="417509"/>
                </a:cubicBezTo>
                <a:cubicBezTo>
                  <a:pt x="292914" y="409180"/>
                  <a:pt x="303161" y="404480"/>
                  <a:pt x="313871" y="404803"/>
                </a:cubicBezTo>
                <a:cubicBezTo>
                  <a:pt x="324731" y="404381"/>
                  <a:pt x="335291" y="408421"/>
                  <a:pt x="343095" y="415984"/>
                </a:cubicBezTo>
                <a:cubicBezTo>
                  <a:pt x="350579" y="423129"/>
                  <a:pt x="354726" y="433084"/>
                  <a:pt x="354530" y="443429"/>
                </a:cubicBezTo>
                <a:cubicBezTo>
                  <a:pt x="354449" y="453844"/>
                  <a:pt x="350246" y="463804"/>
                  <a:pt x="342841" y="471128"/>
                </a:cubicBezTo>
                <a:close/>
                <a:moveTo>
                  <a:pt x="342841" y="303664"/>
                </a:moveTo>
                <a:cubicBezTo>
                  <a:pt x="335344" y="343561"/>
                  <a:pt x="331405" y="366431"/>
                  <a:pt x="331278" y="372403"/>
                </a:cubicBezTo>
                <a:cubicBezTo>
                  <a:pt x="331151" y="378375"/>
                  <a:pt x="331278" y="381170"/>
                  <a:pt x="330008" y="381932"/>
                </a:cubicBezTo>
                <a:cubicBezTo>
                  <a:pt x="328737" y="382695"/>
                  <a:pt x="327340" y="383203"/>
                  <a:pt x="324163" y="383203"/>
                </a:cubicBezTo>
                <a:lnTo>
                  <a:pt x="308535" y="383203"/>
                </a:lnTo>
                <a:cubicBezTo>
                  <a:pt x="305358" y="383203"/>
                  <a:pt x="303325" y="383203"/>
                  <a:pt x="302690" y="382059"/>
                </a:cubicBezTo>
                <a:cubicBezTo>
                  <a:pt x="301592" y="379454"/>
                  <a:pt x="301198" y="376606"/>
                  <a:pt x="301547" y="373801"/>
                </a:cubicBezTo>
                <a:cubicBezTo>
                  <a:pt x="301547" y="366812"/>
                  <a:pt x="296210" y="334031"/>
                  <a:pt x="285537" y="275711"/>
                </a:cubicBezTo>
                <a:cubicBezTo>
                  <a:pt x="277278" y="229589"/>
                  <a:pt x="272831" y="204685"/>
                  <a:pt x="272831" y="200747"/>
                </a:cubicBezTo>
                <a:cubicBezTo>
                  <a:pt x="272826" y="191299"/>
                  <a:pt x="277130" y="182364"/>
                  <a:pt x="284521" y="176478"/>
                </a:cubicBezTo>
                <a:cubicBezTo>
                  <a:pt x="293946" y="169228"/>
                  <a:pt x="305690" y="165660"/>
                  <a:pt x="317556" y="166441"/>
                </a:cubicBezTo>
                <a:cubicBezTo>
                  <a:pt x="329008" y="165651"/>
                  <a:pt x="340290" y="169549"/>
                  <a:pt x="348812" y="177241"/>
                </a:cubicBezTo>
                <a:cubicBezTo>
                  <a:pt x="355689" y="183900"/>
                  <a:pt x="359545" y="193080"/>
                  <a:pt x="359485" y="202652"/>
                </a:cubicBezTo>
                <a:cubicBezTo>
                  <a:pt x="359867" y="209132"/>
                  <a:pt x="354149" y="242930"/>
                  <a:pt x="342587" y="303664"/>
                </a:cubicBezTo>
                <a:close/>
              </a:path>
            </a:pathLst>
          </a:custGeom>
          <a:solidFill>
            <a:schemeClr val="accent1"/>
          </a:solidFill>
          <a:ln w="12663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15" name="Oval 15">
            <a:extLst>
              <a:ext uri="{FF2B5EF4-FFF2-40B4-BE49-F238E27FC236}">
                <a16:creationId xmlns:a16="http://schemas.microsoft.com/office/drawing/2014/main" id="{2E8F2B0B-2FB4-A919-3444-5F8EE2690F80}"/>
              </a:ext>
            </a:extLst>
          </p:cNvPr>
          <p:cNvSpPr/>
          <p:nvPr/>
        </p:nvSpPr>
        <p:spPr>
          <a:xfrm>
            <a:off x="1793865" y="2630883"/>
            <a:ext cx="124770" cy="12537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Freihandform 21">
            <a:extLst>
              <a:ext uri="{FF2B5EF4-FFF2-40B4-BE49-F238E27FC236}">
                <a16:creationId xmlns:a16="http://schemas.microsoft.com/office/drawing/2014/main" id="{1DCF909E-8BAC-56CD-1196-599B6FD33BFF}"/>
              </a:ext>
            </a:extLst>
          </p:cNvPr>
          <p:cNvSpPr/>
          <p:nvPr/>
        </p:nvSpPr>
        <p:spPr bwMode="auto">
          <a:xfrm flipV="1">
            <a:off x="1874155" y="1850931"/>
            <a:ext cx="1627000" cy="814039"/>
          </a:xfrm>
          <a:custGeom>
            <a:avLst/>
            <a:gdLst>
              <a:gd name="connsiteX0" fmla="*/ 1450848 w 1450848"/>
              <a:gd name="connsiteY0" fmla="*/ 792480 h 792480"/>
              <a:gd name="connsiteX1" fmla="*/ 780288 w 1450848"/>
              <a:gd name="connsiteY1" fmla="*/ 792480 h 792480"/>
              <a:gd name="connsiteX2" fmla="*/ 0 w 1450848"/>
              <a:gd name="connsiteY2" fmla="*/ 0 h 79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0848" h="792480">
                <a:moveTo>
                  <a:pt x="1450848" y="792480"/>
                </a:moveTo>
                <a:lnTo>
                  <a:pt x="780288" y="79248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IN" sz="4267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7691AFF-2E4E-C203-E2A8-71B9B9E812B0}"/>
              </a:ext>
            </a:extLst>
          </p:cNvPr>
          <p:cNvSpPr/>
          <p:nvPr/>
        </p:nvSpPr>
        <p:spPr bwMode="auto">
          <a:xfrm>
            <a:off x="3501152" y="1429588"/>
            <a:ext cx="8005048" cy="883187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216000" indent="-216000" defTabSz="576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</a:pPr>
            <a:endParaRPr lang="en-IN" sz="1800" dirty="0"/>
          </a:p>
        </p:txBody>
      </p:sp>
      <p:graphicFrame>
        <p:nvGraphicFramePr>
          <p:cNvPr id="53" name="Diagram 52">
            <a:extLst>
              <a:ext uri="{FF2B5EF4-FFF2-40B4-BE49-F238E27FC236}">
                <a16:creationId xmlns:a16="http://schemas.microsoft.com/office/drawing/2014/main" id="{00EF8B7A-C477-4EA1-941F-CB54ECE52A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086778"/>
              </p:ext>
            </p:extLst>
          </p:nvPr>
        </p:nvGraphicFramePr>
        <p:xfrm>
          <a:off x="4542543" y="1429588"/>
          <a:ext cx="7039857" cy="883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29" name="Attention">
            <a:extLst>
              <a:ext uri="{FF2B5EF4-FFF2-40B4-BE49-F238E27FC236}">
                <a16:creationId xmlns:a16="http://schemas.microsoft.com/office/drawing/2014/main" id="{C800C359-6BE1-45E2-B9F6-10EFD09AF707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3818460" y="1692267"/>
            <a:ext cx="406778" cy="357826"/>
          </a:xfrm>
          <a:custGeom>
            <a:avLst/>
            <a:gdLst>
              <a:gd name="connsiteX0" fmla="*/ 627580 w 633114"/>
              <a:gd name="connsiteY0" fmla="*/ 503274 h 556924"/>
              <a:gd name="connsiteX1" fmla="*/ 348050 w 633114"/>
              <a:gd name="connsiteY1" fmla="*/ 17909 h 556924"/>
              <a:gd name="connsiteX2" fmla="*/ 300708 w 633114"/>
              <a:gd name="connsiteY2" fmla="*/ 4390 h 556924"/>
              <a:gd name="connsiteX3" fmla="*/ 287189 w 633114"/>
              <a:gd name="connsiteY3" fmla="*/ 17909 h 556924"/>
              <a:gd name="connsiteX4" fmla="*/ 4991 w 633114"/>
              <a:gd name="connsiteY4" fmla="*/ 504290 h 556924"/>
              <a:gd name="connsiteX5" fmla="*/ 16774 w 633114"/>
              <a:gd name="connsiteY5" fmla="*/ 551909 h 556924"/>
              <a:gd name="connsiteX6" fmla="*/ 35104 w 633114"/>
              <a:gd name="connsiteY6" fmla="*/ 556892 h 556924"/>
              <a:gd name="connsiteX7" fmla="*/ 596831 w 633114"/>
              <a:gd name="connsiteY7" fmla="*/ 556892 h 556924"/>
              <a:gd name="connsiteX8" fmla="*/ 633084 w 633114"/>
              <a:gd name="connsiteY8" fmla="*/ 523579 h 556924"/>
              <a:gd name="connsiteX9" fmla="*/ 627580 w 633114"/>
              <a:gd name="connsiteY9" fmla="*/ 503274 h 556924"/>
              <a:gd name="connsiteX10" fmla="*/ 342841 w 633114"/>
              <a:gd name="connsiteY10" fmla="*/ 471128 h 556924"/>
              <a:gd name="connsiteX11" fmla="*/ 313871 w 633114"/>
              <a:gd name="connsiteY11" fmla="*/ 483834 h 556924"/>
              <a:gd name="connsiteX12" fmla="*/ 286681 w 633114"/>
              <a:gd name="connsiteY12" fmla="*/ 473034 h 556924"/>
              <a:gd name="connsiteX13" fmla="*/ 276008 w 633114"/>
              <a:gd name="connsiteY13" fmla="*/ 445843 h 556924"/>
              <a:gd name="connsiteX14" fmla="*/ 286172 w 633114"/>
              <a:gd name="connsiteY14" fmla="*/ 417509 h 556924"/>
              <a:gd name="connsiteX15" fmla="*/ 313871 w 633114"/>
              <a:gd name="connsiteY15" fmla="*/ 404803 h 556924"/>
              <a:gd name="connsiteX16" fmla="*/ 343095 w 633114"/>
              <a:gd name="connsiteY16" fmla="*/ 415984 h 556924"/>
              <a:gd name="connsiteX17" fmla="*/ 354530 w 633114"/>
              <a:gd name="connsiteY17" fmla="*/ 443429 h 556924"/>
              <a:gd name="connsiteX18" fmla="*/ 342841 w 633114"/>
              <a:gd name="connsiteY18" fmla="*/ 471128 h 556924"/>
              <a:gd name="connsiteX19" fmla="*/ 342841 w 633114"/>
              <a:gd name="connsiteY19" fmla="*/ 303664 h 556924"/>
              <a:gd name="connsiteX20" fmla="*/ 331278 w 633114"/>
              <a:gd name="connsiteY20" fmla="*/ 372403 h 556924"/>
              <a:gd name="connsiteX21" fmla="*/ 330008 w 633114"/>
              <a:gd name="connsiteY21" fmla="*/ 381932 h 556924"/>
              <a:gd name="connsiteX22" fmla="*/ 324163 w 633114"/>
              <a:gd name="connsiteY22" fmla="*/ 383203 h 556924"/>
              <a:gd name="connsiteX23" fmla="*/ 308535 w 633114"/>
              <a:gd name="connsiteY23" fmla="*/ 383203 h 556924"/>
              <a:gd name="connsiteX24" fmla="*/ 302690 w 633114"/>
              <a:gd name="connsiteY24" fmla="*/ 382059 h 556924"/>
              <a:gd name="connsiteX25" fmla="*/ 301547 w 633114"/>
              <a:gd name="connsiteY25" fmla="*/ 373801 h 556924"/>
              <a:gd name="connsiteX26" fmla="*/ 285537 w 633114"/>
              <a:gd name="connsiteY26" fmla="*/ 275711 h 556924"/>
              <a:gd name="connsiteX27" fmla="*/ 272831 w 633114"/>
              <a:gd name="connsiteY27" fmla="*/ 200747 h 556924"/>
              <a:gd name="connsiteX28" fmla="*/ 284521 w 633114"/>
              <a:gd name="connsiteY28" fmla="*/ 176478 h 556924"/>
              <a:gd name="connsiteX29" fmla="*/ 317556 w 633114"/>
              <a:gd name="connsiteY29" fmla="*/ 166441 h 556924"/>
              <a:gd name="connsiteX30" fmla="*/ 348812 w 633114"/>
              <a:gd name="connsiteY30" fmla="*/ 177241 h 556924"/>
              <a:gd name="connsiteX31" fmla="*/ 359485 w 633114"/>
              <a:gd name="connsiteY31" fmla="*/ 202652 h 556924"/>
              <a:gd name="connsiteX32" fmla="*/ 342587 w 633114"/>
              <a:gd name="connsiteY32" fmla="*/ 303664 h 55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33114" h="556924">
                <a:moveTo>
                  <a:pt x="627580" y="503274"/>
                </a:moveTo>
                <a:cubicBezTo>
                  <a:pt x="614874" y="481801"/>
                  <a:pt x="368507" y="54375"/>
                  <a:pt x="348050" y="17909"/>
                </a:cubicBezTo>
                <a:cubicBezTo>
                  <a:pt x="338710" y="1103"/>
                  <a:pt x="317514" y="-4950"/>
                  <a:pt x="300708" y="4390"/>
                </a:cubicBezTo>
                <a:cubicBezTo>
                  <a:pt x="295028" y="7546"/>
                  <a:pt x="290345" y="12229"/>
                  <a:pt x="287189" y="17909"/>
                </a:cubicBezTo>
                <a:cubicBezTo>
                  <a:pt x="270544" y="44083"/>
                  <a:pt x="22525" y="473288"/>
                  <a:pt x="4991" y="504290"/>
                </a:cubicBezTo>
                <a:cubicBezTo>
                  <a:pt x="-4904" y="520693"/>
                  <a:pt x="371" y="542013"/>
                  <a:pt x="16774" y="551909"/>
                </a:cubicBezTo>
                <a:cubicBezTo>
                  <a:pt x="22302" y="555243"/>
                  <a:pt x="28650" y="556969"/>
                  <a:pt x="35104" y="556892"/>
                </a:cubicBezTo>
                <a:lnTo>
                  <a:pt x="596831" y="556892"/>
                </a:lnTo>
                <a:cubicBezTo>
                  <a:pt x="616041" y="557704"/>
                  <a:pt x="632272" y="542789"/>
                  <a:pt x="633084" y="523579"/>
                </a:cubicBezTo>
                <a:cubicBezTo>
                  <a:pt x="633387" y="516405"/>
                  <a:pt x="631464" y="509312"/>
                  <a:pt x="627580" y="503274"/>
                </a:cubicBezTo>
                <a:close/>
                <a:moveTo>
                  <a:pt x="342841" y="471128"/>
                </a:moveTo>
                <a:cubicBezTo>
                  <a:pt x="335480" y="479359"/>
                  <a:pt x="324912" y="483994"/>
                  <a:pt x="313871" y="483834"/>
                </a:cubicBezTo>
                <a:cubicBezTo>
                  <a:pt x="303695" y="484202"/>
                  <a:pt x="293831" y="480284"/>
                  <a:pt x="286681" y="473034"/>
                </a:cubicBezTo>
                <a:cubicBezTo>
                  <a:pt x="279567" y="465803"/>
                  <a:pt x="275713" y="455982"/>
                  <a:pt x="276008" y="445843"/>
                </a:cubicBezTo>
                <a:cubicBezTo>
                  <a:pt x="275878" y="435483"/>
                  <a:pt x="279487" y="425424"/>
                  <a:pt x="286172" y="417509"/>
                </a:cubicBezTo>
                <a:cubicBezTo>
                  <a:pt x="292914" y="409180"/>
                  <a:pt x="303161" y="404480"/>
                  <a:pt x="313871" y="404803"/>
                </a:cubicBezTo>
                <a:cubicBezTo>
                  <a:pt x="324731" y="404381"/>
                  <a:pt x="335291" y="408421"/>
                  <a:pt x="343095" y="415984"/>
                </a:cubicBezTo>
                <a:cubicBezTo>
                  <a:pt x="350579" y="423129"/>
                  <a:pt x="354726" y="433084"/>
                  <a:pt x="354530" y="443429"/>
                </a:cubicBezTo>
                <a:cubicBezTo>
                  <a:pt x="354449" y="453844"/>
                  <a:pt x="350246" y="463804"/>
                  <a:pt x="342841" y="471128"/>
                </a:cubicBezTo>
                <a:close/>
                <a:moveTo>
                  <a:pt x="342841" y="303664"/>
                </a:moveTo>
                <a:cubicBezTo>
                  <a:pt x="335344" y="343561"/>
                  <a:pt x="331405" y="366431"/>
                  <a:pt x="331278" y="372403"/>
                </a:cubicBezTo>
                <a:cubicBezTo>
                  <a:pt x="331151" y="378375"/>
                  <a:pt x="331278" y="381170"/>
                  <a:pt x="330008" y="381932"/>
                </a:cubicBezTo>
                <a:cubicBezTo>
                  <a:pt x="328737" y="382695"/>
                  <a:pt x="327340" y="383203"/>
                  <a:pt x="324163" y="383203"/>
                </a:cubicBezTo>
                <a:lnTo>
                  <a:pt x="308535" y="383203"/>
                </a:lnTo>
                <a:cubicBezTo>
                  <a:pt x="305358" y="383203"/>
                  <a:pt x="303325" y="383203"/>
                  <a:pt x="302690" y="382059"/>
                </a:cubicBezTo>
                <a:cubicBezTo>
                  <a:pt x="301592" y="379454"/>
                  <a:pt x="301198" y="376606"/>
                  <a:pt x="301547" y="373801"/>
                </a:cubicBezTo>
                <a:cubicBezTo>
                  <a:pt x="301547" y="366812"/>
                  <a:pt x="296210" y="334031"/>
                  <a:pt x="285537" y="275711"/>
                </a:cubicBezTo>
                <a:cubicBezTo>
                  <a:pt x="277278" y="229589"/>
                  <a:pt x="272831" y="204685"/>
                  <a:pt x="272831" y="200747"/>
                </a:cubicBezTo>
                <a:cubicBezTo>
                  <a:pt x="272826" y="191299"/>
                  <a:pt x="277130" y="182364"/>
                  <a:pt x="284521" y="176478"/>
                </a:cubicBezTo>
                <a:cubicBezTo>
                  <a:pt x="293946" y="169228"/>
                  <a:pt x="305690" y="165660"/>
                  <a:pt x="317556" y="166441"/>
                </a:cubicBezTo>
                <a:cubicBezTo>
                  <a:pt x="329008" y="165651"/>
                  <a:pt x="340290" y="169549"/>
                  <a:pt x="348812" y="177241"/>
                </a:cubicBezTo>
                <a:cubicBezTo>
                  <a:pt x="355689" y="183900"/>
                  <a:pt x="359545" y="193080"/>
                  <a:pt x="359485" y="202652"/>
                </a:cubicBezTo>
                <a:cubicBezTo>
                  <a:pt x="359867" y="209132"/>
                  <a:pt x="354149" y="242930"/>
                  <a:pt x="342587" y="303664"/>
                </a:cubicBezTo>
                <a:close/>
              </a:path>
            </a:pathLst>
          </a:custGeom>
          <a:solidFill>
            <a:schemeClr val="accent1"/>
          </a:solidFill>
          <a:ln w="12663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11" name="Oval 15">
            <a:extLst>
              <a:ext uri="{FF2B5EF4-FFF2-40B4-BE49-F238E27FC236}">
                <a16:creationId xmlns:a16="http://schemas.microsoft.com/office/drawing/2014/main" id="{AAAB13E0-C1DE-192F-4985-101E8087E8E4}"/>
              </a:ext>
            </a:extLst>
          </p:cNvPr>
          <p:cNvSpPr/>
          <p:nvPr/>
        </p:nvSpPr>
        <p:spPr>
          <a:xfrm>
            <a:off x="2330658" y="3878215"/>
            <a:ext cx="124770" cy="12537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ihandform 15">
            <a:extLst>
              <a:ext uri="{FF2B5EF4-FFF2-40B4-BE49-F238E27FC236}">
                <a16:creationId xmlns:a16="http://schemas.microsoft.com/office/drawing/2014/main" id="{70953E85-A340-E124-A524-688A5E2E6AF1}"/>
              </a:ext>
            </a:extLst>
          </p:cNvPr>
          <p:cNvSpPr/>
          <p:nvPr/>
        </p:nvSpPr>
        <p:spPr bwMode="auto">
          <a:xfrm>
            <a:off x="2429851" y="3963336"/>
            <a:ext cx="1071303" cy="352085"/>
          </a:xfrm>
          <a:custGeom>
            <a:avLst/>
            <a:gdLst>
              <a:gd name="connsiteX0" fmla="*/ 1450848 w 1450848"/>
              <a:gd name="connsiteY0" fmla="*/ 792480 h 792480"/>
              <a:gd name="connsiteX1" fmla="*/ 780288 w 1450848"/>
              <a:gd name="connsiteY1" fmla="*/ 792480 h 792480"/>
              <a:gd name="connsiteX2" fmla="*/ 0 w 1450848"/>
              <a:gd name="connsiteY2" fmla="*/ 0 h 792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0848" h="792480">
                <a:moveTo>
                  <a:pt x="1450848" y="792480"/>
                </a:moveTo>
                <a:lnTo>
                  <a:pt x="780288" y="79248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IN" sz="4267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B705219-7A6C-CC61-A52E-120D517248F1}"/>
              </a:ext>
            </a:extLst>
          </p:cNvPr>
          <p:cNvSpPr/>
          <p:nvPr/>
        </p:nvSpPr>
        <p:spPr bwMode="auto">
          <a:xfrm>
            <a:off x="3501152" y="3829612"/>
            <a:ext cx="8005048" cy="883187"/>
          </a:xfrm>
          <a:prstGeom prst="rect">
            <a:avLst/>
          </a:prstGeom>
          <a:ln w="9525">
            <a:solidFill>
              <a:schemeClr val="bg2"/>
            </a:solidFill>
          </a:ln>
        </p:spPr>
        <p:txBody>
          <a:bodyPr vert="horz" lIns="72000" tIns="72000" rIns="72000" bIns="72000" rtlCol="0" anchor="ctr">
            <a:noAutofit/>
          </a:bodyPr>
          <a:lstStyle/>
          <a:p>
            <a:pPr marL="216000" indent="-216000" defTabSz="576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</a:pPr>
            <a:endParaRPr lang="en-IN" sz="1800" dirty="0"/>
          </a:p>
        </p:txBody>
      </p:sp>
      <p:graphicFrame>
        <p:nvGraphicFramePr>
          <p:cNvPr id="55" name="Diagram 54">
            <a:extLst>
              <a:ext uri="{FF2B5EF4-FFF2-40B4-BE49-F238E27FC236}">
                <a16:creationId xmlns:a16="http://schemas.microsoft.com/office/drawing/2014/main" id="{5BCCCCBE-DA7E-41E2-9825-DB79E5F802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3914890"/>
              </p:ext>
            </p:extLst>
          </p:nvPr>
        </p:nvGraphicFramePr>
        <p:xfrm>
          <a:off x="4542544" y="3829612"/>
          <a:ext cx="7047378" cy="883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32" name="Attention">
            <a:extLst>
              <a:ext uri="{FF2B5EF4-FFF2-40B4-BE49-F238E27FC236}">
                <a16:creationId xmlns:a16="http://schemas.microsoft.com/office/drawing/2014/main" id="{DD1D044E-F9C6-483E-9EA9-98EBBA65DED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818460" y="4092293"/>
            <a:ext cx="406778" cy="357826"/>
          </a:xfrm>
          <a:custGeom>
            <a:avLst/>
            <a:gdLst>
              <a:gd name="connsiteX0" fmla="*/ 627580 w 633114"/>
              <a:gd name="connsiteY0" fmla="*/ 503274 h 556924"/>
              <a:gd name="connsiteX1" fmla="*/ 348050 w 633114"/>
              <a:gd name="connsiteY1" fmla="*/ 17909 h 556924"/>
              <a:gd name="connsiteX2" fmla="*/ 300708 w 633114"/>
              <a:gd name="connsiteY2" fmla="*/ 4390 h 556924"/>
              <a:gd name="connsiteX3" fmla="*/ 287189 w 633114"/>
              <a:gd name="connsiteY3" fmla="*/ 17909 h 556924"/>
              <a:gd name="connsiteX4" fmla="*/ 4991 w 633114"/>
              <a:gd name="connsiteY4" fmla="*/ 504290 h 556924"/>
              <a:gd name="connsiteX5" fmla="*/ 16774 w 633114"/>
              <a:gd name="connsiteY5" fmla="*/ 551909 h 556924"/>
              <a:gd name="connsiteX6" fmla="*/ 35104 w 633114"/>
              <a:gd name="connsiteY6" fmla="*/ 556892 h 556924"/>
              <a:gd name="connsiteX7" fmla="*/ 596831 w 633114"/>
              <a:gd name="connsiteY7" fmla="*/ 556892 h 556924"/>
              <a:gd name="connsiteX8" fmla="*/ 633084 w 633114"/>
              <a:gd name="connsiteY8" fmla="*/ 523579 h 556924"/>
              <a:gd name="connsiteX9" fmla="*/ 627580 w 633114"/>
              <a:gd name="connsiteY9" fmla="*/ 503274 h 556924"/>
              <a:gd name="connsiteX10" fmla="*/ 342841 w 633114"/>
              <a:gd name="connsiteY10" fmla="*/ 471128 h 556924"/>
              <a:gd name="connsiteX11" fmla="*/ 313871 w 633114"/>
              <a:gd name="connsiteY11" fmla="*/ 483834 h 556924"/>
              <a:gd name="connsiteX12" fmla="*/ 286681 w 633114"/>
              <a:gd name="connsiteY12" fmla="*/ 473034 h 556924"/>
              <a:gd name="connsiteX13" fmla="*/ 276008 w 633114"/>
              <a:gd name="connsiteY13" fmla="*/ 445843 h 556924"/>
              <a:gd name="connsiteX14" fmla="*/ 286172 w 633114"/>
              <a:gd name="connsiteY14" fmla="*/ 417509 h 556924"/>
              <a:gd name="connsiteX15" fmla="*/ 313871 w 633114"/>
              <a:gd name="connsiteY15" fmla="*/ 404803 h 556924"/>
              <a:gd name="connsiteX16" fmla="*/ 343095 w 633114"/>
              <a:gd name="connsiteY16" fmla="*/ 415984 h 556924"/>
              <a:gd name="connsiteX17" fmla="*/ 354530 w 633114"/>
              <a:gd name="connsiteY17" fmla="*/ 443429 h 556924"/>
              <a:gd name="connsiteX18" fmla="*/ 342841 w 633114"/>
              <a:gd name="connsiteY18" fmla="*/ 471128 h 556924"/>
              <a:gd name="connsiteX19" fmla="*/ 342841 w 633114"/>
              <a:gd name="connsiteY19" fmla="*/ 303664 h 556924"/>
              <a:gd name="connsiteX20" fmla="*/ 331278 w 633114"/>
              <a:gd name="connsiteY20" fmla="*/ 372403 h 556924"/>
              <a:gd name="connsiteX21" fmla="*/ 330008 w 633114"/>
              <a:gd name="connsiteY21" fmla="*/ 381932 h 556924"/>
              <a:gd name="connsiteX22" fmla="*/ 324163 w 633114"/>
              <a:gd name="connsiteY22" fmla="*/ 383203 h 556924"/>
              <a:gd name="connsiteX23" fmla="*/ 308535 w 633114"/>
              <a:gd name="connsiteY23" fmla="*/ 383203 h 556924"/>
              <a:gd name="connsiteX24" fmla="*/ 302690 w 633114"/>
              <a:gd name="connsiteY24" fmla="*/ 382059 h 556924"/>
              <a:gd name="connsiteX25" fmla="*/ 301547 w 633114"/>
              <a:gd name="connsiteY25" fmla="*/ 373801 h 556924"/>
              <a:gd name="connsiteX26" fmla="*/ 285537 w 633114"/>
              <a:gd name="connsiteY26" fmla="*/ 275711 h 556924"/>
              <a:gd name="connsiteX27" fmla="*/ 272831 w 633114"/>
              <a:gd name="connsiteY27" fmla="*/ 200747 h 556924"/>
              <a:gd name="connsiteX28" fmla="*/ 284521 w 633114"/>
              <a:gd name="connsiteY28" fmla="*/ 176478 h 556924"/>
              <a:gd name="connsiteX29" fmla="*/ 317556 w 633114"/>
              <a:gd name="connsiteY29" fmla="*/ 166441 h 556924"/>
              <a:gd name="connsiteX30" fmla="*/ 348812 w 633114"/>
              <a:gd name="connsiteY30" fmla="*/ 177241 h 556924"/>
              <a:gd name="connsiteX31" fmla="*/ 359485 w 633114"/>
              <a:gd name="connsiteY31" fmla="*/ 202652 h 556924"/>
              <a:gd name="connsiteX32" fmla="*/ 342587 w 633114"/>
              <a:gd name="connsiteY32" fmla="*/ 303664 h 556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33114" h="556924">
                <a:moveTo>
                  <a:pt x="627580" y="503274"/>
                </a:moveTo>
                <a:cubicBezTo>
                  <a:pt x="614874" y="481801"/>
                  <a:pt x="368507" y="54375"/>
                  <a:pt x="348050" y="17909"/>
                </a:cubicBezTo>
                <a:cubicBezTo>
                  <a:pt x="338710" y="1103"/>
                  <a:pt x="317514" y="-4950"/>
                  <a:pt x="300708" y="4390"/>
                </a:cubicBezTo>
                <a:cubicBezTo>
                  <a:pt x="295028" y="7546"/>
                  <a:pt x="290345" y="12229"/>
                  <a:pt x="287189" y="17909"/>
                </a:cubicBezTo>
                <a:cubicBezTo>
                  <a:pt x="270544" y="44083"/>
                  <a:pt x="22525" y="473288"/>
                  <a:pt x="4991" y="504290"/>
                </a:cubicBezTo>
                <a:cubicBezTo>
                  <a:pt x="-4904" y="520693"/>
                  <a:pt x="371" y="542013"/>
                  <a:pt x="16774" y="551909"/>
                </a:cubicBezTo>
                <a:cubicBezTo>
                  <a:pt x="22302" y="555243"/>
                  <a:pt x="28650" y="556969"/>
                  <a:pt x="35104" y="556892"/>
                </a:cubicBezTo>
                <a:lnTo>
                  <a:pt x="596831" y="556892"/>
                </a:lnTo>
                <a:cubicBezTo>
                  <a:pt x="616041" y="557704"/>
                  <a:pt x="632272" y="542789"/>
                  <a:pt x="633084" y="523579"/>
                </a:cubicBezTo>
                <a:cubicBezTo>
                  <a:pt x="633387" y="516405"/>
                  <a:pt x="631464" y="509312"/>
                  <a:pt x="627580" y="503274"/>
                </a:cubicBezTo>
                <a:close/>
                <a:moveTo>
                  <a:pt x="342841" y="471128"/>
                </a:moveTo>
                <a:cubicBezTo>
                  <a:pt x="335480" y="479359"/>
                  <a:pt x="324912" y="483994"/>
                  <a:pt x="313871" y="483834"/>
                </a:cubicBezTo>
                <a:cubicBezTo>
                  <a:pt x="303695" y="484202"/>
                  <a:pt x="293831" y="480284"/>
                  <a:pt x="286681" y="473034"/>
                </a:cubicBezTo>
                <a:cubicBezTo>
                  <a:pt x="279567" y="465803"/>
                  <a:pt x="275713" y="455982"/>
                  <a:pt x="276008" y="445843"/>
                </a:cubicBezTo>
                <a:cubicBezTo>
                  <a:pt x="275878" y="435483"/>
                  <a:pt x="279487" y="425424"/>
                  <a:pt x="286172" y="417509"/>
                </a:cubicBezTo>
                <a:cubicBezTo>
                  <a:pt x="292914" y="409180"/>
                  <a:pt x="303161" y="404480"/>
                  <a:pt x="313871" y="404803"/>
                </a:cubicBezTo>
                <a:cubicBezTo>
                  <a:pt x="324731" y="404381"/>
                  <a:pt x="335291" y="408421"/>
                  <a:pt x="343095" y="415984"/>
                </a:cubicBezTo>
                <a:cubicBezTo>
                  <a:pt x="350579" y="423129"/>
                  <a:pt x="354726" y="433084"/>
                  <a:pt x="354530" y="443429"/>
                </a:cubicBezTo>
                <a:cubicBezTo>
                  <a:pt x="354449" y="453844"/>
                  <a:pt x="350246" y="463804"/>
                  <a:pt x="342841" y="471128"/>
                </a:cubicBezTo>
                <a:close/>
                <a:moveTo>
                  <a:pt x="342841" y="303664"/>
                </a:moveTo>
                <a:cubicBezTo>
                  <a:pt x="335344" y="343561"/>
                  <a:pt x="331405" y="366431"/>
                  <a:pt x="331278" y="372403"/>
                </a:cubicBezTo>
                <a:cubicBezTo>
                  <a:pt x="331151" y="378375"/>
                  <a:pt x="331278" y="381170"/>
                  <a:pt x="330008" y="381932"/>
                </a:cubicBezTo>
                <a:cubicBezTo>
                  <a:pt x="328737" y="382695"/>
                  <a:pt x="327340" y="383203"/>
                  <a:pt x="324163" y="383203"/>
                </a:cubicBezTo>
                <a:lnTo>
                  <a:pt x="308535" y="383203"/>
                </a:lnTo>
                <a:cubicBezTo>
                  <a:pt x="305358" y="383203"/>
                  <a:pt x="303325" y="383203"/>
                  <a:pt x="302690" y="382059"/>
                </a:cubicBezTo>
                <a:cubicBezTo>
                  <a:pt x="301592" y="379454"/>
                  <a:pt x="301198" y="376606"/>
                  <a:pt x="301547" y="373801"/>
                </a:cubicBezTo>
                <a:cubicBezTo>
                  <a:pt x="301547" y="366812"/>
                  <a:pt x="296210" y="334031"/>
                  <a:pt x="285537" y="275711"/>
                </a:cubicBezTo>
                <a:cubicBezTo>
                  <a:pt x="277278" y="229589"/>
                  <a:pt x="272831" y="204685"/>
                  <a:pt x="272831" y="200747"/>
                </a:cubicBezTo>
                <a:cubicBezTo>
                  <a:pt x="272826" y="191299"/>
                  <a:pt x="277130" y="182364"/>
                  <a:pt x="284521" y="176478"/>
                </a:cubicBezTo>
                <a:cubicBezTo>
                  <a:pt x="293946" y="169228"/>
                  <a:pt x="305690" y="165660"/>
                  <a:pt x="317556" y="166441"/>
                </a:cubicBezTo>
                <a:cubicBezTo>
                  <a:pt x="329008" y="165651"/>
                  <a:pt x="340290" y="169549"/>
                  <a:pt x="348812" y="177241"/>
                </a:cubicBezTo>
                <a:cubicBezTo>
                  <a:pt x="355689" y="183900"/>
                  <a:pt x="359545" y="193080"/>
                  <a:pt x="359485" y="202652"/>
                </a:cubicBezTo>
                <a:cubicBezTo>
                  <a:pt x="359867" y="209132"/>
                  <a:pt x="354149" y="242930"/>
                  <a:pt x="342587" y="303664"/>
                </a:cubicBezTo>
                <a:close/>
              </a:path>
            </a:pathLst>
          </a:custGeom>
          <a:solidFill>
            <a:schemeClr val="accent1"/>
          </a:solidFill>
          <a:ln w="12663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7AEB8D38-1C70-4B7F-B504-892096124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3</a:t>
            </a:fld>
            <a:endParaRPr lang="en-IN" dirty="0"/>
          </a:p>
        </p:txBody>
      </p: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08EB9C1B-EC97-4D9B-884C-6D98A1A2EF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© Accellera Systems Initiative</a:t>
            </a:r>
            <a:endParaRPr lang="en-I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568010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IN" dirty="0"/>
              <a:t>Conclus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7FE888C-EFCC-441A-B337-310C0F7876CE}"/>
              </a:ext>
            </a:extLst>
          </p:cNvPr>
          <p:cNvGrpSpPr/>
          <p:nvPr/>
        </p:nvGrpSpPr>
        <p:grpSpPr>
          <a:xfrm>
            <a:off x="463571" y="1032264"/>
            <a:ext cx="11256353" cy="1170335"/>
            <a:chOff x="472076" y="1268413"/>
            <a:chExt cx="11256353" cy="1170335"/>
          </a:xfrm>
        </p:grpSpPr>
        <p:sp>
          <p:nvSpPr>
            <p:cNvPr id="15" name="Rectangle 116">
              <a:extLst>
                <a:ext uri="{FF2B5EF4-FFF2-40B4-BE49-F238E27FC236}">
                  <a16:creationId xmlns:a16="http://schemas.microsoft.com/office/drawing/2014/main" id="{1FCF478B-EFE5-A006-D5FA-BD413E5D3DFF}"/>
                </a:ext>
              </a:extLst>
            </p:cNvPr>
            <p:cNvSpPr/>
            <p:nvPr/>
          </p:nvSpPr>
          <p:spPr>
            <a:xfrm>
              <a:off x="1303905" y="1459175"/>
              <a:ext cx="75134" cy="788812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">
              <a:extLst>
                <a:ext uri="{FF2B5EF4-FFF2-40B4-BE49-F238E27FC236}">
                  <a16:creationId xmlns:a16="http://schemas.microsoft.com/office/drawing/2014/main" id="{D354CFFD-644D-E644-7E56-43D35D88983A}"/>
                </a:ext>
              </a:extLst>
            </p:cNvPr>
            <p:cNvSpPr txBox="1"/>
            <p:nvPr>
              <p:custDataLst>
                <p:tags r:id="rId10"/>
              </p:custDataLst>
            </p:nvPr>
          </p:nvSpPr>
          <p:spPr bwMode="auto">
            <a:xfrm>
              <a:off x="1548314" y="1268413"/>
              <a:ext cx="10180115" cy="117033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252000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800" baseline="0">
                  <a:latin typeface="+mn-lt"/>
                </a:defRPr>
              </a:lvl1pPr>
              <a:lvl2pPr marL="504000" lvl="1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600">
                  <a:latin typeface="+mn-lt"/>
                </a:defRPr>
              </a:lvl2pPr>
              <a:lvl3pPr marL="756000" lvl="2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3pPr>
              <a:lvl4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4pPr>
              <a:lvl5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5pPr>
              <a:lvl6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6pPr>
              <a:lvl7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7pPr>
              <a:lvl8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8pPr>
              <a:lvl9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US" sz="2800" dirty="0"/>
                <a:t>HISIG is Simple, effective and reusable across designs</a:t>
              </a:r>
            </a:p>
          </p:txBody>
        </p:sp>
        <p:pic>
          <p:nvPicPr>
            <p:cNvPr id="46" name="Check">
              <a:extLst>
                <a:ext uri="{FF2B5EF4-FFF2-40B4-BE49-F238E27FC236}">
                  <a16:creationId xmlns:a16="http://schemas.microsoft.com/office/drawing/2014/main" id="{B5559FA4-EC25-4AA9-9A63-F42E82F5974A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2076" y="1510681"/>
              <a:ext cx="685800" cy="685800"/>
            </a:xfrm>
            <a:prstGeom prst="rect">
              <a:avLst/>
            </a:prstGeom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F42D7E-E222-40E8-B626-277C6EA9A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4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DAEC98-1030-44CE-8C44-0D355BFA5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© Accellera Systems Initiative</a:t>
            </a:r>
            <a:endParaRPr lang="en-IN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F283EE8-B03E-4F06-BD8A-C42D3311DC4C}"/>
              </a:ext>
            </a:extLst>
          </p:cNvPr>
          <p:cNvGrpSpPr/>
          <p:nvPr/>
        </p:nvGrpSpPr>
        <p:grpSpPr>
          <a:xfrm>
            <a:off x="463571" y="1920817"/>
            <a:ext cx="11256353" cy="1170335"/>
            <a:chOff x="472076" y="1268413"/>
            <a:chExt cx="11256353" cy="1170335"/>
          </a:xfrm>
        </p:grpSpPr>
        <p:sp>
          <p:nvSpPr>
            <p:cNvPr id="48" name="Rectangle 116">
              <a:extLst>
                <a:ext uri="{FF2B5EF4-FFF2-40B4-BE49-F238E27FC236}">
                  <a16:creationId xmlns:a16="http://schemas.microsoft.com/office/drawing/2014/main" id="{ADBBF5CC-89F6-4B77-83EE-B9049DE66D05}"/>
                </a:ext>
              </a:extLst>
            </p:cNvPr>
            <p:cNvSpPr/>
            <p:nvPr/>
          </p:nvSpPr>
          <p:spPr>
            <a:xfrm>
              <a:off x="1303905" y="1459175"/>
              <a:ext cx="75134" cy="788812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TextBox">
              <a:extLst>
                <a:ext uri="{FF2B5EF4-FFF2-40B4-BE49-F238E27FC236}">
                  <a16:creationId xmlns:a16="http://schemas.microsoft.com/office/drawing/2014/main" id="{5D2F66A3-6F1E-4580-94E6-31EA5F911AFB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auto">
            <a:xfrm>
              <a:off x="1548314" y="1268413"/>
              <a:ext cx="10180115" cy="117033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252000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800" baseline="0">
                  <a:latin typeface="+mn-lt"/>
                </a:defRPr>
              </a:lvl1pPr>
              <a:lvl2pPr marL="504000" lvl="1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600">
                  <a:latin typeface="+mn-lt"/>
                </a:defRPr>
              </a:lvl2pPr>
              <a:lvl3pPr marL="756000" lvl="2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3pPr>
              <a:lvl4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4pPr>
              <a:lvl5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5pPr>
              <a:lvl6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6pPr>
              <a:lvl7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7pPr>
              <a:lvl8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8pPr>
              <a:lvl9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US" sz="2800" dirty="0"/>
                <a:t>Optimizes IP GLS DV cycle by ~90%</a:t>
              </a:r>
              <a:endParaRPr lang="en-IN" sz="2800" dirty="0"/>
            </a:p>
          </p:txBody>
        </p:sp>
        <p:pic>
          <p:nvPicPr>
            <p:cNvPr id="50" name="Check">
              <a:extLst>
                <a:ext uri="{FF2B5EF4-FFF2-40B4-BE49-F238E27FC236}">
                  <a16:creationId xmlns:a16="http://schemas.microsoft.com/office/drawing/2014/main" id="{E959544A-8E51-4CB8-89D2-BD5BDA8450BD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2076" y="1510681"/>
              <a:ext cx="685800" cy="6858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E7109C00-D9E9-4A66-847C-99FB6973E254}"/>
              </a:ext>
            </a:extLst>
          </p:cNvPr>
          <p:cNvGrpSpPr/>
          <p:nvPr/>
        </p:nvGrpSpPr>
        <p:grpSpPr>
          <a:xfrm>
            <a:off x="467823" y="3916166"/>
            <a:ext cx="11256353" cy="1243595"/>
            <a:chOff x="472076" y="1459175"/>
            <a:chExt cx="11256353" cy="1243595"/>
          </a:xfrm>
        </p:grpSpPr>
        <p:sp>
          <p:nvSpPr>
            <p:cNvPr id="52" name="Rectangle 116">
              <a:extLst>
                <a:ext uri="{FF2B5EF4-FFF2-40B4-BE49-F238E27FC236}">
                  <a16:creationId xmlns:a16="http://schemas.microsoft.com/office/drawing/2014/main" id="{1E264057-F595-4690-AD6B-6715D178DAE7}"/>
                </a:ext>
              </a:extLst>
            </p:cNvPr>
            <p:cNvSpPr/>
            <p:nvPr/>
          </p:nvSpPr>
          <p:spPr>
            <a:xfrm>
              <a:off x="1303905" y="1459175"/>
              <a:ext cx="75134" cy="788812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">
              <a:extLst>
                <a:ext uri="{FF2B5EF4-FFF2-40B4-BE49-F238E27FC236}">
                  <a16:creationId xmlns:a16="http://schemas.microsoft.com/office/drawing/2014/main" id="{EA42ED9B-6AE4-4AE2-AC30-49EDB9EDC509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auto">
            <a:xfrm>
              <a:off x="1548314" y="1683570"/>
              <a:ext cx="10180115" cy="10192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252000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800" baseline="0">
                  <a:latin typeface="+mn-lt"/>
                </a:defRPr>
              </a:lvl1pPr>
              <a:lvl2pPr marL="504000" lvl="1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600">
                  <a:latin typeface="+mn-lt"/>
                </a:defRPr>
              </a:lvl2pPr>
              <a:lvl3pPr marL="756000" lvl="2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3pPr>
              <a:lvl4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4pPr>
              <a:lvl5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5pPr>
              <a:lvl6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6pPr>
              <a:lvl7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7pPr>
              <a:lvl8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8pPr>
              <a:lvl9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9pPr>
            </a:lstStyle>
            <a:p>
              <a:pPr marL="0" indent="0">
                <a:lnSpc>
                  <a:spcPct val="110000"/>
                </a:lnSpc>
                <a:buNone/>
              </a:pPr>
              <a:r>
                <a:rPr lang="en-US" sz="2800" dirty="0"/>
                <a:t>HISIG applied on a live design already taped-out</a:t>
              </a:r>
              <a:endParaRPr lang="en-IN" sz="2800" dirty="0"/>
            </a:p>
            <a:p>
              <a:pPr lvl="1"/>
              <a:r>
                <a:rPr lang="en-US" sz="2400" dirty="0"/>
                <a:t>Achieved desired timing and functional coverage</a:t>
              </a:r>
            </a:p>
            <a:p>
              <a:pPr lvl="1"/>
              <a:r>
                <a:rPr lang="en-US" sz="2400" dirty="0"/>
                <a:t>No IP timing issues found in SoC GLS</a:t>
              </a:r>
              <a:endParaRPr lang="en-IN" sz="2400" dirty="0"/>
            </a:p>
          </p:txBody>
        </p:sp>
        <p:pic>
          <p:nvPicPr>
            <p:cNvPr id="54" name="Check">
              <a:extLst>
                <a:ext uri="{FF2B5EF4-FFF2-40B4-BE49-F238E27FC236}">
                  <a16:creationId xmlns:a16="http://schemas.microsoft.com/office/drawing/2014/main" id="{4EDA33F2-8902-4A8D-8383-CC9E972B8E3B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2076" y="1510681"/>
              <a:ext cx="685800" cy="685800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70F8D4B-B7F8-4EF0-AE4A-655193161F93}"/>
              </a:ext>
            </a:extLst>
          </p:cNvPr>
          <p:cNvGrpSpPr/>
          <p:nvPr/>
        </p:nvGrpSpPr>
        <p:grpSpPr>
          <a:xfrm>
            <a:off x="457494" y="2820220"/>
            <a:ext cx="11256353" cy="1170335"/>
            <a:chOff x="472076" y="1268413"/>
            <a:chExt cx="11256353" cy="1170335"/>
          </a:xfrm>
        </p:grpSpPr>
        <p:sp>
          <p:nvSpPr>
            <p:cNvPr id="56" name="Rectangle 116">
              <a:extLst>
                <a:ext uri="{FF2B5EF4-FFF2-40B4-BE49-F238E27FC236}">
                  <a16:creationId xmlns:a16="http://schemas.microsoft.com/office/drawing/2014/main" id="{0B0247C7-4171-45C2-B560-FAC6D7EA9C78}"/>
                </a:ext>
              </a:extLst>
            </p:cNvPr>
            <p:cNvSpPr/>
            <p:nvPr/>
          </p:nvSpPr>
          <p:spPr>
            <a:xfrm>
              <a:off x="1303905" y="1459175"/>
              <a:ext cx="75134" cy="788812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">
              <a:extLst>
                <a:ext uri="{FF2B5EF4-FFF2-40B4-BE49-F238E27FC236}">
                  <a16:creationId xmlns:a16="http://schemas.microsoft.com/office/drawing/2014/main" id="{CE8AD4A1-3EA7-4936-A60B-6F8155023D4D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auto">
            <a:xfrm>
              <a:off x="1548314" y="1268413"/>
              <a:ext cx="10180115" cy="117033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252000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800" baseline="0">
                  <a:latin typeface="+mn-lt"/>
                </a:defRPr>
              </a:lvl1pPr>
              <a:lvl2pPr marL="504000" lvl="1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600">
                  <a:latin typeface="+mn-lt"/>
                </a:defRPr>
              </a:lvl2pPr>
              <a:lvl3pPr marL="756000" lvl="2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3pPr>
              <a:lvl4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4pPr>
              <a:lvl5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5pPr>
              <a:lvl6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6pPr>
              <a:lvl7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7pPr>
              <a:lvl8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8pPr>
              <a:lvl9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US" sz="2800" dirty="0"/>
                <a:t>Completes timing checks early in the design cycle</a:t>
              </a:r>
            </a:p>
          </p:txBody>
        </p:sp>
        <p:pic>
          <p:nvPicPr>
            <p:cNvPr id="58" name="Check">
              <a:extLst>
                <a:ext uri="{FF2B5EF4-FFF2-40B4-BE49-F238E27FC236}">
                  <a16:creationId xmlns:a16="http://schemas.microsoft.com/office/drawing/2014/main" id="{ACE7C2FB-9341-4785-BEDC-BB85A32AB4A4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2076" y="1510681"/>
              <a:ext cx="685800" cy="685800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4E67035-E218-4A08-A745-D927AFF4984A}"/>
              </a:ext>
            </a:extLst>
          </p:cNvPr>
          <p:cNvGrpSpPr/>
          <p:nvPr/>
        </p:nvGrpSpPr>
        <p:grpSpPr>
          <a:xfrm>
            <a:off x="467823" y="5049806"/>
            <a:ext cx="11256353" cy="1170335"/>
            <a:chOff x="472076" y="1268413"/>
            <a:chExt cx="11256353" cy="1170335"/>
          </a:xfrm>
        </p:grpSpPr>
        <p:sp>
          <p:nvSpPr>
            <p:cNvPr id="60" name="Rectangle 116">
              <a:extLst>
                <a:ext uri="{FF2B5EF4-FFF2-40B4-BE49-F238E27FC236}">
                  <a16:creationId xmlns:a16="http://schemas.microsoft.com/office/drawing/2014/main" id="{9E7FD87A-3EE1-43D2-A22E-C2001F5D8EB6}"/>
                </a:ext>
              </a:extLst>
            </p:cNvPr>
            <p:cNvSpPr/>
            <p:nvPr/>
          </p:nvSpPr>
          <p:spPr>
            <a:xfrm>
              <a:off x="1303905" y="1459175"/>
              <a:ext cx="75134" cy="788812"/>
            </a:xfrm>
            <a:prstGeom prst="rect">
              <a:avLst/>
            </a:prstGeom>
            <a:solidFill>
              <a:schemeClr val="tx2"/>
            </a:solidFill>
            <a:ln w="63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42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TextBox">
              <a:extLst>
                <a:ext uri="{FF2B5EF4-FFF2-40B4-BE49-F238E27FC236}">
                  <a16:creationId xmlns:a16="http://schemas.microsoft.com/office/drawing/2014/main" id="{BBB0440E-9296-43E3-AC42-E3AB4703C2A5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auto">
            <a:xfrm>
              <a:off x="1548314" y="1268413"/>
              <a:ext cx="10180115" cy="117033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252000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800" baseline="0">
                  <a:latin typeface="+mn-lt"/>
                </a:defRPr>
              </a:lvl1pPr>
              <a:lvl2pPr marL="504000" lvl="1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sz="1600">
                  <a:latin typeface="+mn-lt"/>
                </a:defRPr>
              </a:lvl2pPr>
              <a:lvl3pPr marL="756000" lvl="2" indent="-2520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3pPr>
              <a:lvl4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4pPr>
              <a:lvl5pPr marL="853200" indent="-284400" defTabSz="576000" eaLnBrk="1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5pPr>
              <a:lvl6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 baseline="0">
                  <a:latin typeface="+mn-lt"/>
                </a:defRPr>
              </a:lvl6pPr>
              <a:lvl7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7pPr>
              <a:lvl8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8pPr>
              <a:lvl9pPr marL="853200" indent="-284400" defTabSz="576000" fontAlgn="base">
                <a:lnSpc>
                  <a:spcPct val="12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2"/>
                </a:buClr>
                <a:buFont typeface="Arial" panose="020B0604020202020204" pitchFamily="34" charset="0"/>
                <a:buChar char="‒"/>
                <a:defRPr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en-US" sz="2800" dirty="0"/>
                <a:t>Improved overall IP quality</a:t>
              </a:r>
            </a:p>
          </p:txBody>
        </p:sp>
        <p:pic>
          <p:nvPicPr>
            <p:cNvPr id="62" name="Check">
              <a:extLst>
                <a:ext uri="{FF2B5EF4-FFF2-40B4-BE49-F238E27FC236}">
                  <a16:creationId xmlns:a16="http://schemas.microsoft.com/office/drawing/2014/main" id="{6F73584D-3504-4CD9-8891-06519078FBBD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2076" y="1510681"/>
              <a:ext cx="685800" cy="68580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230674769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Referenc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C36245-071E-46CA-A0FE-98771F7C46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[1] Gagandeep Singh “Addressing Renewed Gate Level Simulation Needs for 10nm-28nm and Below”, DVCON Europe, 2016</a:t>
            </a:r>
            <a:endParaRPr lang="en-IN" sz="1800" dirty="0"/>
          </a:p>
          <a:p>
            <a:r>
              <a:rPr lang="en-US" sz="1800" dirty="0"/>
              <a:t>[2] Ateet Mishra, Deepak Mahajan and Shiva Belwal “Absolute GLS Verification- An Early Simulation of Design Timing Constraints”, DVCON India, 2015</a:t>
            </a:r>
            <a:endParaRPr lang="en-IN" sz="1800" dirty="0"/>
          </a:p>
          <a:p>
            <a:r>
              <a:rPr lang="en-US" sz="1800" dirty="0"/>
              <a:t>[3] Ashok Chandran, Roy Vincent “Gate level Simulations: Continuing Value in Functional Simulation”, DVCON India, 2014</a:t>
            </a:r>
            <a:endParaRPr lang="en-IN" sz="1800" dirty="0"/>
          </a:p>
          <a:p>
            <a:r>
              <a:rPr lang="en-US" sz="1800" dirty="0"/>
              <a:t>[4] Vishal Dalal, “Relevance of Gate Level Simulations in Today's SoC Verification” short tutorial at 13th VLSI Design and Test Symposium, VDAT India, 2009 </a:t>
            </a:r>
            <a:endParaRPr lang="en-IN" sz="1800" dirty="0"/>
          </a:p>
          <a:p>
            <a:r>
              <a:rPr lang="en-US" sz="1800" dirty="0"/>
              <a:t>[5] Synopsys PowerReplay flow, </a:t>
            </a:r>
            <a:r>
              <a:rPr lang="en-US" sz="1800" u="sng" dirty="0">
                <a:hlinkClick r:id="rId4"/>
              </a:rPr>
              <a:t>https://www.synopsys.com/verification/simulation/powerreplay.html</a:t>
            </a:r>
            <a:endParaRPr lang="en-IN" sz="1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DAEC98-1030-44CE-8C44-0D355BFA5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© Accellera Systems Initiative</a:t>
            </a:r>
            <a:endParaRPr lang="en-IN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F42D7E-E222-40E8-B626-277C6EA9A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5</a:t>
            </a:fld>
            <a:endParaRPr lang="en-I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746062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CCF23BA8-A819-48F8-BC0F-F0C2F8B6D4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4033479"/>
              </p:ext>
            </p:extLst>
          </p:nvPr>
        </p:nvGraphicFramePr>
        <p:xfrm>
          <a:off x="3219450" y="1853504"/>
          <a:ext cx="5651500" cy="23653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8ACE6A-4C17-41C3-BD8A-79E39672A2DE}"/>
              </a:ext>
            </a:extLst>
          </p:cNvPr>
          <p:cNvSpPr txBox="1"/>
          <p:nvPr/>
        </p:nvSpPr>
        <p:spPr>
          <a:xfrm>
            <a:off x="4521200" y="4191000"/>
            <a:ext cx="3048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4400" dirty="0">
                <a:latin typeface="+mj-lt"/>
              </a:rPr>
              <a:t>Questions?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troduction</a:t>
            </a:r>
          </a:p>
          <a:p>
            <a:r>
              <a:rPr lang="en-US" dirty="0"/>
              <a:t>Hybrid IP Gate Level Simulation (GLS) Problem</a:t>
            </a:r>
          </a:p>
          <a:p>
            <a:r>
              <a:rPr lang="en-US" u="sng" dirty="0"/>
              <a:t>H</a:t>
            </a:r>
            <a:r>
              <a:rPr lang="en-US" dirty="0"/>
              <a:t>ard </a:t>
            </a:r>
            <a:r>
              <a:rPr lang="en-US" u="sng" dirty="0"/>
              <a:t>I</a:t>
            </a:r>
            <a:r>
              <a:rPr lang="en-US" dirty="0"/>
              <a:t>P inside </a:t>
            </a:r>
            <a:r>
              <a:rPr lang="en-US" u="sng" dirty="0"/>
              <a:t>S</a:t>
            </a:r>
            <a:r>
              <a:rPr lang="en-US" dirty="0"/>
              <a:t>oft </a:t>
            </a:r>
            <a:r>
              <a:rPr lang="en-US" u="sng" dirty="0"/>
              <a:t>I</a:t>
            </a:r>
            <a:r>
              <a:rPr lang="en-US" dirty="0"/>
              <a:t>P </a:t>
            </a:r>
            <a:r>
              <a:rPr lang="en-US" u="sng" dirty="0"/>
              <a:t>G</a:t>
            </a:r>
            <a:r>
              <a:rPr lang="en-US" dirty="0"/>
              <a:t>LS (HISIG) Flow</a:t>
            </a:r>
          </a:p>
          <a:p>
            <a:r>
              <a:rPr lang="en-US" dirty="0"/>
              <a:t>HISIG Automation and Testbench (TB) Setup</a:t>
            </a:r>
          </a:p>
          <a:p>
            <a:r>
              <a:rPr lang="en-US" dirty="0"/>
              <a:t>Results</a:t>
            </a:r>
          </a:p>
          <a:p>
            <a:r>
              <a:rPr lang="en-US" dirty="0"/>
              <a:t>Advantages and Limitations</a:t>
            </a:r>
          </a:p>
          <a:p>
            <a:r>
              <a:rPr lang="en-US" dirty="0"/>
              <a:t>Conclus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B13BC-55AD-4D06-94BB-BA75D364F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Introduction</a:t>
            </a:r>
            <a:endParaRPr lang="en-IN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86A7892-099F-46CD-BA14-428E3EE6C2C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6583203"/>
              </p:ext>
            </p:extLst>
          </p:nvPr>
        </p:nvGraphicFramePr>
        <p:xfrm>
          <a:off x="609600" y="1066800"/>
          <a:ext cx="109728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17159A-D6EB-4816-80C6-1DEA1CFB4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F9FF1-71DC-471C-850B-9DB2A7127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2451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P GLS Problem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</a:t>
            </a:r>
            <a:r>
              <a:rPr lang="en-US" dirty="0" err="1"/>
              <a:t>Accellera</a:t>
            </a:r>
            <a:r>
              <a:rPr lang="en-US" dirty="0"/>
              <a:t>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DD4E0A-DF10-477A-B491-44B329E8CA89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91863" y="1371600"/>
            <a:ext cx="5386388" cy="639762"/>
          </a:xfrm>
        </p:spPr>
        <p:txBody>
          <a:bodyPr>
            <a:normAutofit/>
          </a:bodyPr>
          <a:lstStyle/>
          <a:p>
            <a:r>
              <a:rPr lang="en-IN" sz="2800" dirty="0"/>
              <a:t>Hard IP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B69B4C6-1884-439D-9A2C-3F0925845D3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160151" y="1371600"/>
            <a:ext cx="5389562" cy="639762"/>
          </a:xfrm>
        </p:spPr>
        <p:txBody>
          <a:bodyPr>
            <a:normAutofit/>
          </a:bodyPr>
          <a:lstStyle/>
          <a:p>
            <a:r>
              <a:rPr lang="en-IN" sz="2800" dirty="0"/>
              <a:t>Hybrid IP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8A81EAF-D0A6-4D62-B4E6-D432F9D4CBBD}"/>
              </a:ext>
            </a:extLst>
          </p:cNvPr>
          <p:cNvGrpSpPr/>
          <p:nvPr/>
        </p:nvGrpSpPr>
        <p:grpSpPr>
          <a:xfrm>
            <a:off x="685800" y="4724400"/>
            <a:ext cx="4366214" cy="1447800"/>
            <a:chOff x="1090292" y="4973839"/>
            <a:chExt cx="4389369" cy="1455478"/>
          </a:xfrm>
        </p:grpSpPr>
        <p:grpSp>
          <p:nvGrpSpPr>
            <p:cNvPr id="25" name="Post-it">
              <a:extLst>
                <a:ext uri="{FF2B5EF4-FFF2-40B4-BE49-F238E27FC236}">
                  <a16:creationId xmlns:a16="http://schemas.microsoft.com/office/drawing/2014/main" id="{881685C1-06C5-4F13-B54D-DD8E3161DDA0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090292" y="4973839"/>
              <a:ext cx="4389369" cy="1455478"/>
              <a:chOff x="5095562" y="3072643"/>
              <a:chExt cx="2443016" cy="1455478"/>
            </a:xfrm>
          </p:grpSpPr>
          <p:pic>
            <p:nvPicPr>
              <p:cNvPr id="23" name="Grafik 5" descr="PostIt.png">
                <a:extLst>
                  <a:ext uri="{FF2B5EF4-FFF2-40B4-BE49-F238E27FC236}">
                    <a16:creationId xmlns:a16="http://schemas.microsoft.com/office/drawing/2014/main" id="{82E5194C-EDC1-42FB-A0C7-9109BCED812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"/>
                </p:custDataLst>
              </p:nvPr>
            </p:nvPicPr>
            <p:blipFill>
              <a:blip r:embed="rId11" cstate="print"/>
              <a:stretch>
                <a:fillRect/>
              </a:stretch>
            </p:blipFill>
            <p:spPr>
              <a:xfrm rot="388300">
                <a:off x="5095562" y="3072643"/>
                <a:ext cx="2443016" cy="1455478"/>
              </a:xfrm>
              <a:prstGeom prst="rect">
                <a:avLst/>
              </a:prstGeom>
            </p:spPr>
          </p:pic>
          <p:sp>
            <p:nvSpPr>
              <p:cNvPr id="24" name="Rectangle 15">
                <a:extLst>
                  <a:ext uri="{FF2B5EF4-FFF2-40B4-BE49-F238E27FC236}">
                    <a16:creationId xmlns:a16="http://schemas.microsoft.com/office/drawing/2014/main" id="{22971827-0630-4D6A-9CE0-DAF5B67E384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 rot="360376">
                <a:off x="5274247" y="3185344"/>
                <a:ext cx="2179395" cy="122852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70239" tIns="35120" rIns="70239" bIns="35120" anchor="ctr">
                <a:norm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2000" b="0" i="0" dirty="0">
                    <a:latin typeface="+mn-lt"/>
                  </a:rPr>
                  <a:t>Complete IP is </a:t>
                </a:r>
                <a:r>
                  <a:rPr lang="en-IN" sz="2000" dirty="0">
                    <a:latin typeface="+mn-lt"/>
                  </a:rPr>
                  <a:t>timing closed</a:t>
                </a:r>
                <a:endParaRPr lang="en-IN" sz="2000" b="0" i="0" dirty="0">
                  <a:latin typeface="+mn-lt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2000" b="0" i="0" dirty="0">
                    <a:latin typeface="+mn-lt"/>
                  </a:rPr>
                  <a:t>RTL TB can be reused for GLS</a:t>
                </a:r>
              </a:p>
            </p:txBody>
          </p:sp>
        </p:grpSp>
        <p:sp>
          <p:nvSpPr>
            <p:cNvPr id="30" name="Best-Choice">
              <a:extLst>
                <a:ext uri="{FF2B5EF4-FFF2-40B4-BE49-F238E27FC236}">
                  <a16:creationId xmlns:a16="http://schemas.microsoft.com/office/drawing/2014/main" id="{6E11D579-978F-4265-BD33-2538C56084E0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 rot="600866">
              <a:off x="4801080" y="5802179"/>
              <a:ext cx="395624" cy="444662"/>
            </a:xfrm>
            <a:custGeom>
              <a:avLst/>
              <a:gdLst>
                <a:gd name="connsiteX0" fmla="*/ 42428 w 506448"/>
                <a:gd name="connsiteY0" fmla="*/ 527040 h 569223"/>
                <a:gd name="connsiteX1" fmla="*/ 84612 w 506448"/>
                <a:gd name="connsiteY1" fmla="*/ 527040 h 569223"/>
                <a:gd name="connsiteX2" fmla="*/ 148141 w 506448"/>
                <a:gd name="connsiteY2" fmla="*/ 548132 h 569223"/>
                <a:gd name="connsiteX3" fmla="*/ 324372 w 506448"/>
                <a:gd name="connsiteY3" fmla="*/ 569224 h 569223"/>
                <a:gd name="connsiteX4" fmla="*/ 388664 w 506448"/>
                <a:gd name="connsiteY4" fmla="*/ 569224 h 569223"/>
                <a:gd name="connsiteX5" fmla="*/ 424113 w 506448"/>
                <a:gd name="connsiteY5" fmla="*/ 554231 h 569223"/>
                <a:gd name="connsiteX6" fmla="*/ 432245 w 506448"/>
                <a:gd name="connsiteY6" fmla="*/ 537713 h 569223"/>
                <a:gd name="connsiteX7" fmla="*/ 432245 w 506448"/>
                <a:gd name="connsiteY7" fmla="*/ 529835 h 569223"/>
                <a:gd name="connsiteX8" fmla="*/ 409374 w 506448"/>
                <a:gd name="connsiteY8" fmla="*/ 492480 h 569223"/>
                <a:gd name="connsiteX9" fmla="*/ 409374 w 506448"/>
                <a:gd name="connsiteY9" fmla="*/ 492480 h 569223"/>
                <a:gd name="connsiteX10" fmla="*/ 437327 w 506448"/>
                <a:gd name="connsiteY10" fmla="*/ 494005 h 569223"/>
                <a:gd name="connsiteX11" fmla="*/ 485653 w 506448"/>
                <a:gd name="connsiteY11" fmla="*/ 451545 h 569223"/>
                <a:gd name="connsiteX12" fmla="*/ 485737 w 506448"/>
                <a:gd name="connsiteY12" fmla="*/ 447628 h 569223"/>
                <a:gd name="connsiteX13" fmla="*/ 441393 w 506448"/>
                <a:gd name="connsiteY13" fmla="*/ 404174 h 569223"/>
                <a:gd name="connsiteX14" fmla="*/ 455878 w 506448"/>
                <a:gd name="connsiteY14" fmla="*/ 404809 h 569223"/>
                <a:gd name="connsiteX15" fmla="*/ 501469 w 506448"/>
                <a:gd name="connsiteY15" fmla="*/ 360452 h 569223"/>
                <a:gd name="connsiteX16" fmla="*/ 459817 w 506448"/>
                <a:gd name="connsiteY16" fmla="*/ 314979 h 569223"/>
                <a:gd name="connsiteX17" fmla="*/ 506437 w 506448"/>
                <a:gd name="connsiteY17" fmla="*/ 270394 h 569223"/>
                <a:gd name="connsiteX18" fmla="*/ 465534 w 506448"/>
                <a:gd name="connsiteY18" fmla="*/ 224005 h 569223"/>
                <a:gd name="connsiteX19" fmla="*/ 303916 w 506448"/>
                <a:gd name="connsiteY19" fmla="*/ 203294 h 569223"/>
                <a:gd name="connsiteX20" fmla="*/ 337713 w 506448"/>
                <a:gd name="connsiteY20" fmla="*/ 63529 h 569223"/>
                <a:gd name="connsiteX21" fmla="*/ 274184 w 506448"/>
                <a:gd name="connsiteY21" fmla="*/ 0 h 569223"/>
                <a:gd name="connsiteX22" fmla="*/ 250805 w 506448"/>
                <a:gd name="connsiteY22" fmla="*/ 35704 h 569223"/>
                <a:gd name="connsiteX23" fmla="*/ 250805 w 506448"/>
                <a:gd name="connsiteY23" fmla="*/ 35704 h 569223"/>
                <a:gd name="connsiteX24" fmla="*/ 222344 w 506448"/>
                <a:gd name="connsiteY24" fmla="*/ 115369 h 569223"/>
                <a:gd name="connsiteX25" fmla="*/ 138866 w 506448"/>
                <a:gd name="connsiteY25" fmla="*/ 189572 h 569223"/>
                <a:gd name="connsiteX26" fmla="*/ 117139 w 506448"/>
                <a:gd name="connsiteY26" fmla="*/ 219939 h 569223"/>
                <a:gd name="connsiteX27" fmla="*/ 115360 w 506448"/>
                <a:gd name="connsiteY27" fmla="*/ 222861 h 569223"/>
                <a:gd name="connsiteX28" fmla="*/ 113200 w 506448"/>
                <a:gd name="connsiteY28" fmla="*/ 227181 h 569223"/>
                <a:gd name="connsiteX29" fmla="*/ 109388 w 506448"/>
                <a:gd name="connsiteY29" fmla="*/ 234424 h 569223"/>
                <a:gd name="connsiteX30" fmla="*/ 42428 w 506448"/>
                <a:gd name="connsiteY30" fmla="*/ 252593 h 569223"/>
                <a:gd name="connsiteX31" fmla="*/ 245 w 506448"/>
                <a:gd name="connsiteY31" fmla="*/ 286156 h 569223"/>
                <a:gd name="connsiteX32" fmla="*/ 245 w 506448"/>
                <a:gd name="connsiteY32" fmla="*/ 294776 h 569223"/>
                <a:gd name="connsiteX33" fmla="*/ 245 w 506448"/>
                <a:gd name="connsiteY33" fmla="*/ 487906 h 569223"/>
                <a:gd name="connsiteX34" fmla="*/ 42428 w 506448"/>
                <a:gd name="connsiteY34" fmla="*/ 527040 h 56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506448" h="569223">
                  <a:moveTo>
                    <a:pt x="42428" y="527040"/>
                  </a:moveTo>
                  <a:lnTo>
                    <a:pt x="84612" y="527040"/>
                  </a:lnTo>
                  <a:cubicBezTo>
                    <a:pt x="105831" y="527040"/>
                    <a:pt x="122730" y="539746"/>
                    <a:pt x="148141" y="548132"/>
                  </a:cubicBezTo>
                  <a:cubicBezTo>
                    <a:pt x="182955" y="560202"/>
                    <a:pt x="234923" y="569224"/>
                    <a:pt x="324372" y="569224"/>
                  </a:cubicBezTo>
                  <a:lnTo>
                    <a:pt x="388664" y="569224"/>
                  </a:lnTo>
                  <a:cubicBezTo>
                    <a:pt x="401972" y="568986"/>
                    <a:pt x="414674" y="563614"/>
                    <a:pt x="424113" y="554231"/>
                  </a:cubicBezTo>
                  <a:cubicBezTo>
                    <a:pt x="428603" y="549795"/>
                    <a:pt x="431467" y="543976"/>
                    <a:pt x="432245" y="537713"/>
                  </a:cubicBezTo>
                  <a:cubicBezTo>
                    <a:pt x="432245" y="536315"/>
                    <a:pt x="432245" y="530598"/>
                    <a:pt x="432245" y="529835"/>
                  </a:cubicBezTo>
                  <a:cubicBezTo>
                    <a:pt x="434545" y="513515"/>
                    <a:pt x="424956" y="497853"/>
                    <a:pt x="409374" y="492480"/>
                  </a:cubicBezTo>
                  <a:cubicBezTo>
                    <a:pt x="409374" y="492480"/>
                    <a:pt x="409374" y="492480"/>
                    <a:pt x="409374" y="492480"/>
                  </a:cubicBezTo>
                  <a:lnTo>
                    <a:pt x="437327" y="494005"/>
                  </a:lnTo>
                  <a:cubicBezTo>
                    <a:pt x="462397" y="495625"/>
                    <a:pt x="484033" y="476615"/>
                    <a:pt x="485653" y="451545"/>
                  </a:cubicBezTo>
                  <a:cubicBezTo>
                    <a:pt x="485737" y="450242"/>
                    <a:pt x="485765" y="448934"/>
                    <a:pt x="485737" y="447628"/>
                  </a:cubicBezTo>
                  <a:cubicBezTo>
                    <a:pt x="485253" y="423486"/>
                    <a:pt x="465541" y="404169"/>
                    <a:pt x="441393" y="404174"/>
                  </a:cubicBezTo>
                  <a:lnTo>
                    <a:pt x="455878" y="404809"/>
                  </a:lnTo>
                  <a:cubicBezTo>
                    <a:pt x="480717" y="405150"/>
                    <a:pt x="501129" y="385291"/>
                    <a:pt x="501469" y="360452"/>
                  </a:cubicBezTo>
                  <a:cubicBezTo>
                    <a:pt x="501796" y="336664"/>
                    <a:pt x="483542" y="316736"/>
                    <a:pt x="459817" y="314979"/>
                  </a:cubicBezTo>
                  <a:cubicBezTo>
                    <a:pt x="485002" y="315540"/>
                    <a:pt x="505876" y="295580"/>
                    <a:pt x="506437" y="270394"/>
                  </a:cubicBezTo>
                  <a:cubicBezTo>
                    <a:pt x="506968" y="246638"/>
                    <a:pt x="489171" y="226453"/>
                    <a:pt x="465534" y="224005"/>
                  </a:cubicBezTo>
                  <a:lnTo>
                    <a:pt x="303916" y="203294"/>
                  </a:lnTo>
                  <a:cubicBezTo>
                    <a:pt x="326515" y="160198"/>
                    <a:pt x="338126" y="112189"/>
                    <a:pt x="337713" y="63529"/>
                  </a:cubicBezTo>
                  <a:cubicBezTo>
                    <a:pt x="337713" y="7751"/>
                    <a:pt x="297817" y="0"/>
                    <a:pt x="274184" y="0"/>
                  </a:cubicBezTo>
                  <a:cubicBezTo>
                    <a:pt x="255760" y="0"/>
                    <a:pt x="250805" y="35704"/>
                    <a:pt x="250805" y="35704"/>
                  </a:cubicBezTo>
                  <a:lnTo>
                    <a:pt x="250805" y="35704"/>
                  </a:lnTo>
                  <a:cubicBezTo>
                    <a:pt x="245899" y="63679"/>
                    <a:pt x="236276" y="90618"/>
                    <a:pt x="222344" y="115369"/>
                  </a:cubicBezTo>
                  <a:cubicBezTo>
                    <a:pt x="201252" y="156664"/>
                    <a:pt x="172410" y="152852"/>
                    <a:pt x="138866" y="189572"/>
                  </a:cubicBezTo>
                  <a:cubicBezTo>
                    <a:pt x="130661" y="198969"/>
                    <a:pt x="123384" y="209139"/>
                    <a:pt x="117139" y="219939"/>
                  </a:cubicBezTo>
                  <a:cubicBezTo>
                    <a:pt x="116406" y="220821"/>
                    <a:pt x="115806" y="221805"/>
                    <a:pt x="115360" y="222861"/>
                  </a:cubicBezTo>
                  <a:cubicBezTo>
                    <a:pt x="114725" y="224513"/>
                    <a:pt x="113836" y="225656"/>
                    <a:pt x="113200" y="227181"/>
                  </a:cubicBezTo>
                  <a:cubicBezTo>
                    <a:pt x="111805" y="229528"/>
                    <a:pt x="110532" y="231945"/>
                    <a:pt x="109388" y="234424"/>
                  </a:cubicBezTo>
                  <a:cubicBezTo>
                    <a:pt x="88678" y="255007"/>
                    <a:pt x="56151" y="252593"/>
                    <a:pt x="42428" y="252593"/>
                  </a:cubicBezTo>
                  <a:cubicBezTo>
                    <a:pt x="21512" y="250212"/>
                    <a:pt x="2626" y="265239"/>
                    <a:pt x="245" y="286156"/>
                  </a:cubicBezTo>
                  <a:cubicBezTo>
                    <a:pt x="-82" y="289019"/>
                    <a:pt x="-82" y="291913"/>
                    <a:pt x="245" y="294776"/>
                  </a:cubicBezTo>
                  <a:lnTo>
                    <a:pt x="245" y="487906"/>
                  </a:lnTo>
                  <a:cubicBezTo>
                    <a:pt x="245" y="517256"/>
                    <a:pt x="12315" y="527040"/>
                    <a:pt x="42428" y="527040"/>
                  </a:cubicBezTo>
                  <a:close/>
                </a:path>
              </a:pathLst>
            </a:custGeom>
            <a:solidFill>
              <a:schemeClr val="accent2"/>
            </a:solidFill>
            <a:ln w="12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7DC9B33-F429-4D3E-964F-24BEE5CD7CB2}"/>
              </a:ext>
            </a:extLst>
          </p:cNvPr>
          <p:cNvGrpSpPr/>
          <p:nvPr/>
        </p:nvGrpSpPr>
        <p:grpSpPr>
          <a:xfrm>
            <a:off x="6629400" y="4810404"/>
            <a:ext cx="4292753" cy="1437996"/>
            <a:chOff x="6584218" y="4902937"/>
            <a:chExt cx="4334475" cy="1484370"/>
          </a:xfrm>
        </p:grpSpPr>
        <p:grpSp>
          <p:nvGrpSpPr>
            <p:cNvPr id="29" name="Post-it">
              <a:extLst>
                <a:ext uri="{FF2B5EF4-FFF2-40B4-BE49-F238E27FC236}">
                  <a16:creationId xmlns:a16="http://schemas.microsoft.com/office/drawing/2014/main" id="{7C09718C-A16B-497B-8043-3B0FAB2827E3}"/>
                </a:ext>
              </a:extLst>
            </p:cNvPr>
            <p:cNvGrpSpPr>
              <a:grpSpLocks/>
            </p:cNvGrpSpPr>
            <p:nvPr>
              <p:custDataLst>
                <p:tags r:id="rId1"/>
              </p:custDataLst>
            </p:nvPr>
          </p:nvGrpSpPr>
          <p:grpSpPr>
            <a:xfrm>
              <a:off x="6584218" y="4902937"/>
              <a:ext cx="4334475" cy="1484370"/>
              <a:chOff x="5055717" y="2985506"/>
              <a:chExt cx="2075018" cy="1484370"/>
            </a:xfrm>
          </p:grpSpPr>
          <p:pic>
            <p:nvPicPr>
              <p:cNvPr id="27" name="Grafik 5" descr="PostIt.png">
                <a:extLst>
                  <a:ext uri="{FF2B5EF4-FFF2-40B4-BE49-F238E27FC236}">
                    <a16:creationId xmlns:a16="http://schemas.microsoft.com/office/drawing/2014/main" id="{066D5AA5-810C-4EEA-B74C-B430AD35EF5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>
              <a:blip r:embed="rId11" cstate="print"/>
              <a:stretch>
                <a:fillRect/>
              </a:stretch>
            </p:blipFill>
            <p:spPr>
              <a:xfrm rot="388300">
                <a:off x="5055717" y="3014398"/>
                <a:ext cx="2075018" cy="1455478"/>
              </a:xfrm>
              <a:prstGeom prst="rect">
                <a:avLst/>
              </a:prstGeom>
            </p:spPr>
          </p:pic>
          <p:sp>
            <p:nvSpPr>
              <p:cNvPr id="28" name="Rectangle 15">
                <a:extLst>
                  <a:ext uri="{FF2B5EF4-FFF2-40B4-BE49-F238E27FC236}">
                    <a16:creationId xmlns:a16="http://schemas.microsoft.com/office/drawing/2014/main" id="{82C125BF-E1A9-411F-A204-6424BAA7F38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 rot="360376">
                <a:off x="5197559" y="2985506"/>
                <a:ext cx="1859986" cy="140528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70239" tIns="35120" rIns="70239" bIns="35120" anchor="ctr">
                <a:norm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2000" i="0" dirty="0">
                    <a:latin typeface="+mn-lt"/>
                  </a:rPr>
                  <a:t>O</a:t>
                </a:r>
                <a:r>
                  <a:rPr lang="en-IN" sz="2000" dirty="0">
                    <a:latin typeface="+mn-lt"/>
                  </a:rPr>
                  <a:t>nly specific sub-block hardened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2000" dirty="0">
                    <a:latin typeface="+mn-lt"/>
                  </a:rPr>
                  <a:t>Timing issues at crossover 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IN" sz="2000" i="0" dirty="0">
                    <a:latin typeface="+mn-lt"/>
                  </a:rPr>
                  <a:t>RTL TB can NOT be reused</a:t>
                </a:r>
              </a:p>
            </p:txBody>
          </p:sp>
        </p:grpSp>
        <p:sp>
          <p:nvSpPr>
            <p:cNvPr id="33" name="Attention">
              <a:extLst>
                <a:ext uri="{FF2B5EF4-FFF2-40B4-BE49-F238E27FC236}">
                  <a16:creationId xmlns:a16="http://schemas.microsoft.com/office/drawing/2014/main" id="{AAC95FA8-9078-43F3-86F4-C6C83165ECBD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>
            <a:xfrm rot="397773">
              <a:off x="10175944" y="5745085"/>
              <a:ext cx="445485" cy="391875"/>
            </a:xfrm>
            <a:custGeom>
              <a:avLst/>
              <a:gdLst>
                <a:gd name="connsiteX0" fmla="*/ 627580 w 633114"/>
                <a:gd name="connsiteY0" fmla="*/ 503274 h 556924"/>
                <a:gd name="connsiteX1" fmla="*/ 348050 w 633114"/>
                <a:gd name="connsiteY1" fmla="*/ 17909 h 556924"/>
                <a:gd name="connsiteX2" fmla="*/ 300708 w 633114"/>
                <a:gd name="connsiteY2" fmla="*/ 4390 h 556924"/>
                <a:gd name="connsiteX3" fmla="*/ 287189 w 633114"/>
                <a:gd name="connsiteY3" fmla="*/ 17909 h 556924"/>
                <a:gd name="connsiteX4" fmla="*/ 4991 w 633114"/>
                <a:gd name="connsiteY4" fmla="*/ 504290 h 556924"/>
                <a:gd name="connsiteX5" fmla="*/ 16774 w 633114"/>
                <a:gd name="connsiteY5" fmla="*/ 551909 h 556924"/>
                <a:gd name="connsiteX6" fmla="*/ 35104 w 633114"/>
                <a:gd name="connsiteY6" fmla="*/ 556892 h 556924"/>
                <a:gd name="connsiteX7" fmla="*/ 596831 w 633114"/>
                <a:gd name="connsiteY7" fmla="*/ 556892 h 556924"/>
                <a:gd name="connsiteX8" fmla="*/ 633084 w 633114"/>
                <a:gd name="connsiteY8" fmla="*/ 523579 h 556924"/>
                <a:gd name="connsiteX9" fmla="*/ 627580 w 633114"/>
                <a:gd name="connsiteY9" fmla="*/ 503274 h 556924"/>
                <a:gd name="connsiteX10" fmla="*/ 342841 w 633114"/>
                <a:gd name="connsiteY10" fmla="*/ 471128 h 556924"/>
                <a:gd name="connsiteX11" fmla="*/ 313871 w 633114"/>
                <a:gd name="connsiteY11" fmla="*/ 483834 h 556924"/>
                <a:gd name="connsiteX12" fmla="*/ 286681 w 633114"/>
                <a:gd name="connsiteY12" fmla="*/ 473034 h 556924"/>
                <a:gd name="connsiteX13" fmla="*/ 276008 w 633114"/>
                <a:gd name="connsiteY13" fmla="*/ 445843 h 556924"/>
                <a:gd name="connsiteX14" fmla="*/ 286172 w 633114"/>
                <a:gd name="connsiteY14" fmla="*/ 417509 h 556924"/>
                <a:gd name="connsiteX15" fmla="*/ 313871 w 633114"/>
                <a:gd name="connsiteY15" fmla="*/ 404803 h 556924"/>
                <a:gd name="connsiteX16" fmla="*/ 343095 w 633114"/>
                <a:gd name="connsiteY16" fmla="*/ 415984 h 556924"/>
                <a:gd name="connsiteX17" fmla="*/ 354530 w 633114"/>
                <a:gd name="connsiteY17" fmla="*/ 443429 h 556924"/>
                <a:gd name="connsiteX18" fmla="*/ 342841 w 633114"/>
                <a:gd name="connsiteY18" fmla="*/ 471128 h 556924"/>
                <a:gd name="connsiteX19" fmla="*/ 342841 w 633114"/>
                <a:gd name="connsiteY19" fmla="*/ 303664 h 556924"/>
                <a:gd name="connsiteX20" fmla="*/ 331278 w 633114"/>
                <a:gd name="connsiteY20" fmla="*/ 372403 h 556924"/>
                <a:gd name="connsiteX21" fmla="*/ 330008 w 633114"/>
                <a:gd name="connsiteY21" fmla="*/ 381932 h 556924"/>
                <a:gd name="connsiteX22" fmla="*/ 324163 w 633114"/>
                <a:gd name="connsiteY22" fmla="*/ 383203 h 556924"/>
                <a:gd name="connsiteX23" fmla="*/ 308535 w 633114"/>
                <a:gd name="connsiteY23" fmla="*/ 383203 h 556924"/>
                <a:gd name="connsiteX24" fmla="*/ 302690 w 633114"/>
                <a:gd name="connsiteY24" fmla="*/ 382059 h 556924"/>
                <a:gd name="connsiteX25" fmla="*/ 301547 w 633114"/>
                <a:gd name="connsiteY25" fmla="*/ 373801 h 556924"/>
                <a:gd name="connsiteX26" fmla="*/ 285537 w 633114"/>
                <a:gd name="connsiteY26" fmla="*/ 275711 h 556924"/>
                <a:gd name="connsiteX27" fmla="*/ 272831 w 633114"/>
                <a:gd name="connsiteY27" fmla="*/ 200747 h 556924"/>
                <a:gd name="connsiteX28" fmla="*/ 284521 w 633114"/>
                <a:gd name="connsiteY28" fmla="*/ 176478 h 556924"/>
                <a:gd name="connsiteX29" fmla="*/ 317556 w 633114"/>
                <a:gd name="connsiteY29" fmla="*/ 166441 h 556924"/>
                <a:gd name="connsiteX30" fmla="*/ 348812 w 633114"/>
                <a:gd name="connsiteY30" fmla="*/ 177241 h 556924"/>
                <a:gd name="connsiteX31" fmla="*/ 359485 w 633114"/>
                <a:gd name="connsiteY31" fmla="*/ 202652 h 556924"/>
                <a:gd name="connsiteX32" fmla="*/ 342587 w 633114"/>
                <a:gd name="connsiteY32" fmla="*/ 303664 h 55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33114" h="556924">
                  <a:moveTo>
                    <a:pt x="627580" y="503274"/>
                  </a:moveTo>
                  <a:cubicBezTo>
                    <a:pt x="614874" y="481801"/>
                    <a:pt x="368507" y="54375"/>
                    <a:pt x="348050" y="17909"/>
                  </a:cubicBezTo>
                  <a:cubicBezTo>
                    <a:pt x="338710" y="1103"/>
                    <a:pt x="317514" y="-4950"/>
                    <a:pt x="300708" y="4390"/>
                  </a:cubicBezTo>
                  <a:cubicBezTo>
                    <a:pt x="295028" y="7546"/>
                    <a:pt x="290345" y="12229"/>
                    <a:pt x="287189" y="17909"/>
                  </a:cubicBezTo>
                  <a:cubicBezTo>
                    <a:pt x="270544" y="44083"/>
                    <a:pt x="22525" y="473288"/>
                    <a:pt x="4991" y="504290"/>
                  </a:cubicBezTo>
                  <a:cubicBezTo>
                    <a:pt x="-4904" y="520693"/>
                    <a:pt x="371" y="542013"/>
                    <a:pt x="16774" y="551909"/>
                  </a:cubicBezTo>
                  <a:cubicBezTo>
                    <a:pt x="22302" y="555243"/>
                    <a:pt x="28650" y="556969"/>
                    <a:pt x="35104" y="556892"/>
                  </a:cubicBezTo>
                  <a:lnTo>
                    <a:pt x="596831" y="556892"/>
                  </a:lnTo>
                  <a:cubicBezTo>
                    <a:pt x="616041" y="557704"/>
                    <a:pt x="632272" y="542789"/>
                    <a:pt x="633084" y="523579"/>
                  </a:cubicBezTo>
                  <a:cubicBezTo>
                    <a:pt x="633387" y="516405"/>
                    <a:pt x="631464" y="509312"/>
                    <a:pt x="627580" y="503274"/>
                  </a:cubicBezTo>
                  <a:close/>
                  <a:moveTo>
                    <a:pt x="342841" y="471128"/>
                  </a:moveTo>
                  <a:cubicBezTo>
                    <a:pt x="335480" y="479359"/>
                    <a:pt x="324912" y="483994"/>
                    <a:pt x="313871" y="483834"/>
                  </a:cubicBezTo>
                  <a:cubicBezTo>
                    <a:pt x="303695" y="484202"/>
                    <a:pt x="293831" y="480284"/>
                    <a:pt x="286681" y="473034"/>
                  </a:cubicBezTo>
                  <a:cubicBezTo>
                    <a:pt x="279567" y="465803"/>
                    <a:pt x="275713" y="455982"/>
                    <a:pt x="276008" y="445843"/>
                  </a:cubicBezTo>
                  <a:cubicBezTo>
                    <a:pt x="275878" y="435483"/>
                    <a:pt x="279487" y="425424"/>
                    <a:pt x="286172" y="417509"/>
                  </a:cubicBezTo>
                  <a:cubicBezTo>
                    <a:pt x="292914" y="409180"/>
                    <a:pt x="303161" y="404480"/>
                    <a:pt x="313871" y="404803"/>
                  </a:cubicBezTo>
                  <a:cubicBezTo>
                    <a:pt x="324731" y="404381"/>
                    <a:pt x="335291" y="408421"/>
                    <a:pt x="343095" y="415984"/>
                  </a:cubicBezTo>
                  <a:cubicBezTo>
                    <a:pt x="350579" y="423129"/>
                    <a:pt x="354726" y="433084"/>
                    <a:pt x="354530" y="443429"/>
                  </a:cubicBezTo>
                  <a:cubicBezTo>
                    <a:pt x="354449" y="453844"/>
                    <a:pt x="350246" y="463804"/>
                    <a:pt x="342841" y="471128"/>
                  </a:cubicBezTo>
                  <a:close/>
                  <a:moveTo>
                    <a:pt x="342841" y="303664"/>
                  </a:moveTo>
                  <a:cubicBezTo>
                    <a:pt x="335344" y="343561"/>
                    <a:pt x="331405" y="366431"/>
                    <a:pt x="331278" y="372403"/>
                  </a:cubicBezTo>
                  <a:cubicBezTo>
                    <a:pt x="331151" y="378375"/>
                    <a:pt x="331278" y="381170"/>
                    <a:pt x="330008" y="381932"/>
                  </a:cubicBezTo>
                  <a:cubicBezTo>
                    <a:pt x="328737" y="382695"/>
                    <a:pt x="327340" y="383203"/>
                    <a:pt x="324163" y="383203"/>
                  </a:cubicBezTo>
                  <a:lnTo>
                    <a:pt x="308535" y="383203"/>
                  </a:lnTo>
                  <a:cubicBezTo>
                    <a:pt x="305358" y="383203"/>
                    <a:pt x="303325" y="383203"/>
                    <a:pt x="302690" y="382059"/>
                  </a:cubicBezTo>
                  <a:cubicBezTo>
                    <a:pt x="301592" y="379454"/>
                    <a:pt x="301198" y="376606"/>
                    <a:pt x="301547" y="373801"/>
                  </a:cubicBezTo>
                  <a:cubicBezTo>
                    <a:pt x="301547" y="366812"/>
                    <a:pt x="296210" y="334031"/>
                    <a:pt x="285537" y="275711"/>
                  </a:cubicBezTo>
                  <a:cubicBezTo>
                    <a:pt x="277278" y="229589"/>
                    <a:pt x="272831" y="204685"/>
                    <a:pt x="272831" y="200747"/>
                  </a:cubicBezTo>
                  <a:cubicBezTo>
                    <a:pt x="272826" y="191299"/>
                    <a:pt x="277130" y="182364"/>
                    <a:pt x="284521" y="176478"/>
                  </a:cubicBezTo>
                  <a:cubicBezTo>
                    <a:pt x="293946" y="169228"/>
                    <a:pt x="305690" y="165660"/>
                    <a:pt x="317556" y="166441"/>
                  </a:cubicBezTo>
                  <a:cubicBezTo>
                    <a:pt x="329008" y="165651"/>
                    <a:pt x="340290" y="169549"/>
                    <a:pt x="348812" y="177241"/>
                  </a:cubicBezTo>
                  <a:cubicBezTo>
                    <a:pt x="355689" y="183900"/>
                    <a:pt x="359545" y="193080"/>
                    <a:pt x="359485" y="202652"/>
                  </a:cubicBezTo>
                  <a:cubicBezTo>
                    <a:pt x="359867" y="209132"/>
                    <a:pt x="354149" y="242930"/>
                    <a:pt x="342587" y="303664"/>
                  </a:cubicBezTo>
                  <a:close/>
                </a:path>
              </a:pathLst>
            </a:custGeom>
            <a:solidFill>
              <a:schemeClr val="accent2"/>
            </a:solidFill>
            <a:ln w="12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BEBC43E-EAA6-40B6-AE57-3C0CE309B8B0}"/>
              </a:ext>
            </a:extLst>
          </p:cNvPr>
          <p:cNvSpPr/>
          <p:nvPr/>
        </p:nvSpPr>
        <p:spPr>
          <a:xfrm>
            <a:off x="8677351" y="3276600"/>
            <a:ext cx="228600" cy="990600"/>
          </a:xfrm>
          <a:prstGeom prst="rect">
            <a:avLst/>
          </a:prstGeom>
          <a:solidFill>
            <a:schemeClr val="bg1">
              <a:lumMod val="50000"/>
              <a:alpha val="42000"/>
            </a:schemeClr>
          </a:solidFill>
          <a:ln w="31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959E55A9-EAB9-48D3-937F-A024C101C7F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12"/>
          <a:stretch>
            <a:fillRect/>
          </a:stretch>
        </p:blipFill>
        <p:spPr>
          <a:xfrm>
            <a:off x="609600" y="1981200"/>
            <a:ext cx="5384800" cy="2555708"/>
          </a:xfrm>
          <a:prstGeom prst="rect">
            <a:avLst/>
          </a:prstGeom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B6AD71D-2DF2-435C-B327-7FC9E03EE03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13"/>
          <a:stretch>
            <a:fillRect/>
          </a:stretch>
        </p:blipFill>
        <p:spPr>
          <a:xfrm>
            <a:off x="6197600" y="1981200"/>
            <a:ext cx="5384800" cy="2907792"/>
          </a:xfrm>
          <a:prstGeom prst="rect">
            <a:avLst/>
          </a:prstGeom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ABA6590-D7B7-4544-8992-6BE9E4358AF5}"/>
              </a:ext>
            </a:extLst>
          </p:cNvPr>
          <p:cNvSpPr/>
          <p:nvPr/>
        </p:nvSpPr>
        <p:spPr>
          <a:xfrm>
            <a:off x="8694389" y="3149227"/>
            <a:ext cx="152400" cy="940545"/>
          </a:xfrm>
          <a:prstGeom prst="roundRect">
            <a:avLst/>
          </a:prstGeom>
          <a:solidFill>
            <a:schemeClr val="bg1">
              <a:alpha val="30000"/>
            </a:schemeClr>
          </a:solidFill>
          <a:ln w="31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0AE9679-F718-479E-9F5C-972488501609}"/>
              </a:ext>
            </a:extLst>
          </p:cNvPr>
          <p:cNvSpPr/>
          <p:nvPr/>
        </p:nvSpPr>
        <p:spPr>
          <a:xfrm>
            <a:off x="10363200" y="3257564"/>
            <a:ext cx="208790" cy="838200"/>
          </a:xfrm>
          <a:prstGeom prst="roundRect">
            <a:avLst/>
          </a:prstGeom>
          <a:solidFill>
            <a:schemeClr val="bg1">
              <a:alpha val="30000"/>
            </a:schemeClr>
          </a:solidFill>
          <a:ln w="3175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9432A8-2361-419A-81E5-9F98F2CF80A9}"/>
              </a:ext>
            </a:extLst>
          </p:cNvPr>
          <p:cNvSpPr txBox="1"/>
          <p:nvPr/>
        </p:nvSpPr>
        <p:spPr>
          <a:xfrm>
            <a:off x="8609411" y="3338110"/>
            <a:ext cx="322355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IN" sz="1600" dirty="0">
                <a:solidFill>
                  <a:srgbClr val="FF0000">
                    <a:alpha val="61000"/>
                  </a:srgbClr>
                </a:solidFill>
                <a:sym typeface="Wingdings 3" panose="05040102010807070707" pitchFamily="18" charset="2"/>
              </a:rPr>
              <a:t></a:t>
            </a:r>
            <a:endParaRPr lang="en-IN" sz="1600" dirty="0">
              <a:solidFill>
                <a:srgbClr val="FF0000">
                  <a:alpha val="61000"/>
                </a:srgbClr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E0F0894-A29E-4A68-9F47-ADC597F4194C}"/>
              </a:ext>
            </a:extLst>
          </p:cNvPr>
          <p:cNvSpPr txBox="1"/>
          <p:nvPr/>
        </p:nvSpPr>
        <p:spPr>
          <a:xfrm>
            <a:off x="5482598" y="6019800"/>
            <a:ext cx="32766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600" dirty="0">
                <a:latin typeface="+mn-lt"/>
              </a:rPr>
              <a:t>*</a:t>
            </a:r>
            <a:r>
              <a:rPr lang="en-US" sz="1600" dirty="0">
                <a:latin typeface="+mn-lt"/>
              </a:rPr>
              <a:t>VIP - Verification IP, SB - Scoreboard</a:t>
            </a:r>
          </a:p>
        </p:txBody>
      </p:sp>
    </p:spTree>
    <p:extLst>
      <p:ext uri="{BB962C8B-B14F-4D97-AF65-F5344CB8AC3E}">
        <p14:creationId xmlns:p14="http://schemas.microsoft.com/office/powerpoint/2010/main" val="1646821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324288-66D8-4F51-8D30-D05FDB9E9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IP GLS Problem….</a:t>
            </a: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C09A98-93A1-4760-B70D-A8F1A44F3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6A9FEA-3276-4664-A8BA-947060FFA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2DFD1F-BB25-4686-9769-1398BAAEBDAD}"/>
              </a:ext>
            </a:extLst>
          </p:cNvPr>
          <p:cNvSpPr txBox="1"/>
          <p:nvPr/>
        </p:nvSpPr>
        <p:spPr>
          <a:xfrm>
            <a:off x="9144000" y="5879068"/>
            <a:ext cx="213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>
                <a:latin typeface="+mn-lt"/>
              </a:rPr>
              <a:t>*MM – Man Month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6B044A4-3B31-4944-A5FC-1442EB67A550}"/>
              </a:ext>
            </a:extLst>
          </p:cNvPr>
          <p:cNvGrpSpPr/>
          <p:nvPr/>
        </p:nvGrpSpPr>
        <p:grpSpPr>
          <a:xfrm>
            <a:off x="609600" y="1447801"/>
            <a:ext cx="10972800" cy="4495800"/>
            <a:chOff x="609600" y="1447801"/>
            <a:chExt cx="10972800" cy="4495800"/>
          </a:xfrm>
        </p:grpSpPr>
        <p:sp>
          <p:nvSpPr>
            <p:cNvPr id="10" name="Arrow: Notched Right 9">
              <a:extLst>
                <a:ext uri="{FF2B5EF4-FFF2-40B4-BE49-F238E27FC236}">
                  <a16:creationId xmlns:a16="http://schemas.microsoft.com/office/drawing/2014/main" id="{45354161-CDD9-47A1-ABB4-178CE8986490}"/>
                </a:ext>
              </a:extLst>
            </p:cNvPr>
            <p:cNvSpPr/>
            <p:nvPr/>
          </p:nvSpPr>
          <p:spPr>
            <a:xfrm>
              <a:off x="609600" y="2796541"/>
              <a:ext cx="10972800" cy="1798320"/>
            </a:xfrm>
            <a:prstGeom prst="notchedRightArrow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0C1493D-FDCD-4936-B3A4-1B52CC8D5295}"/>
                </a:ext>
              </a:extLst>
            </p:cNvPr>
            <p:cNvSpPr/>
            <p:nvPr/>
          </p:nvSpPr>
          <p:spPr>
            <a:xfrm>
              <a:off x="612312" y="1447801"/>
              <a:ext cx="2054688" cy="1798320"/>
            </a:xfrm>
            <a:custGeom>
              <a:avLst/>
              <a:gdLst>
                <a:gd name="connsiteX0" fmla="*/ 0 w 1579215"/>
                <a:gd name="connsiteY0" fmla="*/ 0 h 1798320"/>
                <a:gd name="connsiteX1" fmla="*/ 1579215 w 1579215"/>
                <a:gd name="connsiteY1" fmla="*/ 0 h 1798320"/>
                <a:gd name="connsiteX2" fmla="*/ 1579215 w 1579215"/>
                <a:gd name="connsiteY2" fmla="*/ 1798320 h 1798320"/>
                <a:gd name="connsiteX3" fmla="*/ 0 w 1579215"/>
                <a:gd name="connsiteY3" fmla="*/ 1798320 h 1798320"/>
                <a:gd name="connsiteX4" fmla="*/ 0 w 1579215"/>
                <a:gd name="connsiteY4" fmla="*/ 0 h 179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15" h="1798320">
                  <a:moveTo>
                    <a:pt x="0" y="0"/>
                  </a:moveTo>
                  <a:lnTo>
                    <a:pt x="1579215" y="0"/>
                  </a:lnTo>
                  <a:lnTo>
                    <a:pt x="1579215" y="1798320"/>
                  </a:lnTo>
                  <a:lnTo>
                    <a:pt x="0" y="17983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13792" rIns="113792" bIns="113792" numCol="1" spcCol="1270" anchor="b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kern="1200" dirty="0"/>
                <a:t>Timing issues in flops of hardened sub-block</a:t>
              </a:r>
              <a:endParaRPr lang="en-IN" sz="2000" kern="1200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3EFBF52-EDE4-4920-8FE1-CDAAA6F55D6E}"/>
                </a:ext>
              </a:extLst>
            </p:cNvPr>
            <p:cNvSpPr/>
            <p:nvPr/>
          </p:nvSpPr>
          <p:spPr>
            <a:xfrm>
              <a:off x="1177130" y="3470911"/>
              <a:ext cx="449580" cy="44958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DF8D3C-A5E4-4BBB-9BEA-16126075942B}"/>
                </a:ext>
              </a:extLst>
            </p:cNvPr>
            <p:cNvSpPr/>
            <p:nvPr/>
          </p:nvSpPr>
          <p:spPr>
            <a:xfrm>
              <a:off x="1905000" y="4145281"/>
              <a:ext cx="1944703" cy="1798320"/>
            </a:xfrm>
            <a:custGeom>
              <a:avLst/>
              <a:gdLst>
                <a:gd name="connsiteX0" fmla="*/ 0 w 1579215"/>
                <a:gd name="connsiteY0" fmla="*/ 0 h 1798320"/>
                <a:gd name="connsiteX1" fmla="*/ 1579215 w 1579215"/>
                <a:gd name="connsiteY1" fmla="*/ 0 h 1798320"/>
                <a:gd name="connsiteX2" fmla="*/ 1579215 w 1579215"/>
                <a:gd name="connsiteY2" fmla="*/ 1798320 h 1798320"/>
                <a:gd name="connsiteX3" fmla="*/ 0 w 1579215"/>
                <a:gd name="connsiteY3" fmla="*/ 1798320 h 1798320"/>
                <a:gd name="connsiteX4" fmla="*/ 0 w 1579215"/>
                <a:gd name="connsiteY4" fmla="*/ 0 h 179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15" h="1798320">
                  <a:moveTo>
                    <a:pt x="0" y="0"/>
                  </a:moveTo>
                  <a:lnTo>
                    <a:pt x="1579215" y="0"/>
                  </a:lnTo>
                  <a:lnTo>
                    <a:pt x="1579215" y="1798320"/>
                  </a:lnTo>
                  <a:lnTo>
                    <a:pt x="0" y="17983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13792" rIns="113792" bIns="113792" numCol="1" spcCol="1270" anchor="t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2000" kern="1200" dirty="0"/>
                <a:t>Behavioural model of hard IP sub-block with timing information was not available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2EBBB74-ADA6-41CA-93C2-FAB379F636C5}"/>
                </a:ext>
              </a:extLst>
            </p:cNvPr>
            <p:cNvSpPr/>
            <p:nvPr/>
          </p:nvSpPr>
          <p:spPr>
            <a:xfrm>
              <a:off x="2835306" y="3470911"/>
              <a:ext cx="449580" cy="44958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F2B3BAA-6335-43D0-90C8-20F0F596A349}"/>
                </a:ext>
              </a:extLst>
            </p:cNvPr>
            <p:cNvSpPr/>
            <p:nvPr/>
          </p:nvSpPr>
          <p:spPr>
            <a:xfrm>
              <a:off x="3849704" y="1447801"/>
              <a:ext cx="1658176" cy="1798320"/>
            </a:xfrm>
            <a:custGeom>
              <a:avLst/>
              <a:gdLst>
                <a:gd name="connsiteX0" fmla="*/ 0 w 1579215"/>
                <a:gd name="connsiteY0" fmla="*/ 0 h 1798320"/>
                <a:gd name="connsiteX1" fmla="*/ 1579215 w 1579215"/>
                <a:gd name="connsiteY1" fmla="*/ 0 h 1798320"/>
                <a:gd name="connsiteX2" fmla="*/ 1579215 w 1579215"/>
                <a:gd name="connsiteY2" fmla="*/ 1798320 h 1798320"/>
                <a:gd name="connsiteX3" fmla="*/ 0 w 1579215"/>
                <a:gd name="connsiteY3" fmla="*/ 1798320 h 1798320"/>
                <a:gd name="connsiteX4" fmla="*/ 0 w 1579215"/>
                <a:gd name="connsiteY4" fmla="*/ 0 h 179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15" h="1798320">
                  <a:moveTo>
                    <a:pt x="0" y="0"/>
                  </a:moveTo>
                  <a:lnTo>
                    <a:pt x="1579215" y="0"/>
                  </a:lnTo>
                  <a:lnTo>
                    <a:pt x="1579215" y="1798320"/>
                  </a:lnTo>
                  <a:lnTo>
                    <a:pt x="0" y="17983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13792" rIns="113792" bIns="113792" numCol="1" spcCol="1270" anchor="b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2000" kern="1200" dirty="0"/>
                <a:t>Can not reuse existing RTL IP verification TB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1109599-5062-4DA8-BC0F-E1D1A79844BD}"/>
                </a:ext>
              </a:extLst>
            </p:cNvPr>
            <p:cNvSpPr/>
            <p:nvPr/>
          </p:nvSpPr>
          <p:spPr>
            <a:xfrm>
              <a:off x="4493482" y="3470911"/>
              <a:ext cx="449580" cy="44958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99EABBF-A53E-4715-AD0C-1A3555DC914C}"/>
                </a:ext>
              </a:extLst>
            </p:cNvPr>
            <p:cNvSpPr/>
            <p:nvPr/>
          </p:nvSpPr>
          <p:spPr>
            <a:xfrm>
              <a:off x="5507880" y="4145281"/>
              <a:ext cx="1737136" cy="1798320"/>
            </a:xfrm>
            <a:custGeom>
              <a:avLst/>
              <a:gdLst>
                <a:gd name="connsiteX0" fmla="*/ 0 w 1579215"/>
                <a:gd name="connsiteY0" fmla="*/ 0 h 1798320"/>
                <a:gd name="connsiteX1" fmla="*/ 1579215 w 1579215"/>
                <a:gd name="connsiteY1" fmla="*/ 0 h 1798320"/>
                <a:gd name="connsiteX2" fmla="*/ 1579215 w 1579215"/>
                <a:gd name="connsiteY2" fmla="*/ 1798320 h 1798320"/>
                <a:gd name="connsiteX3" fmla="*/ 0 w 1579215"/>
                <a:gd name="connsiteY3" fmla="*/ 1798320 h 1798320"/>
                <a:gd name="connsiteX4" fmla="*/ 0 w 1579215"/>
                <a:gd name="connsiteY4" fmla="*/ 0 h 179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15" h="1798320">
                  <a:moveTo>
                    <a:pt x="0" y="0"/>
                  </a:moveTo>
                  <a:lnTo>
                    <a:pt x="1579215" y="0"/>
                  </a:lnTo>
                  <a:lnTo>
                    <a:pt x="1579215" y="1798320"/>
                  </a:lnTo>
                  <a:lnTo>
                    <a:pt x="0" y="17983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13792" rIns="113792" bIns="113792" numCol="1" spcCol="1270" anchor="t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2000" kern="1200" dirty="0"/>
                <a:t>How to create stimulus for hardened sub-block GLS?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34BFC4D-E4BB-4BD1-988F-7E2A86CA64E3}"/>
                </a:ext>
              </a:extLst>
            </p:cNvPr>
            <p:cNvSpPr/>
            <p:nvPr/>
          </p:nvSpPr>
          <p:spPr>
            <a:xfrm>
              <a:off x="6151657" y="3470911"/>
              <a:ext cx="449580" cy="44958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09E9068-60FA-4422-BB9D-4E91923D53B7}"/>
                </a:ext>
              </a:extLst>
            </p:cNvPr>
            <p:cNvSpPr/>
            <p:nvPr/>
          </p:nvSpPr>
          <p:spPr>
            <a:xfrm>
              <a:off x="7245016" y="1447801"/>
              <a:ext cx="1898984" cy="1798320"/>
            </a:xfrm>
            <a:custGeom>
              <a:avLst/>
              <a:gdLst>
                <a:gd name="connsiteX0" fmla="*/ 0 w 1579215"/>
                <a:gd name="connsiteY0" fmla="*/ 0 h 1798320"/>
                <a:gd name="connsiteX1" fmla="*/ 1579215 w 1579215"/>
                <a:gd name="connsiteY1" fmla="*/ 0 h 1798320"/>
                <a:gd name="connsiteX2" fmla="*/ 1579215 w 1579215"/>
                <a:gd name="connsiteY2" fmla="*/ 1798320 h 1798320"/>
                <a:gd name="connsiteX3" fmla="*/ 0 w 1579215"/>
                <a:gd name="connsiteY3" fmla="*/ 1798320 h 1798320"/>
                <a:gd name="connsiteX4" fmla="*/ 0 w 1579215"/>
                <a:gd name="connsiteY4" fmla="*/ 0 h 179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15" h="1798320">
                  <a:moveTo>
                    <a:pt x="0" y="0"/>
                  </a:moveTo>
                  <a:lnTo>
                    <a:pt x="1579215" y="0"/>
                  </a:lnTo>
                  <a:lnTo>
                    <a:pt x="1579215" y="1798320"/>
                  </a:lnTo>
                  <a:lnTo>
                    <a:pt x="0" y="17983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13792" rIns="113792" bIns="113792" numCol="1" spcCol="1270" anchor="b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2000" kern="1200" dirty="0"/>
                <a:t>High efforts to create standalone TB for hard IP sub-block </a:t>
              </a:r>
              <a:r>
                <a:rPr lang="en-IN" sz="2000" kern="1200" dirty="0">
                  <a:sym typeface="Wingdings" panose="05000000000000000000" pitchFamily="2" charset="2"/>
                </a:rPr>
                <a:t></a:t>
              </a:r>
              <a:r>
                <a:rPr lang="en-IN" sz="2000" kern="1200" dirty="0"/>
                <a:t> 5 MM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1E48363-87EF-4966-B80C-EED3B9F4C740}"/>
                </a:ext>
              </a:extLst>
            </p:cNvPr>
            <p:cNvSpPr/>
            <p:nvPr/>
          </p:nvSpPr>
          <p:spPr>
            <a:xfrm>
              <a:off x="7809833" y="3470911"/>
              <a:ext cx="449580" cy="44958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323042B-F723-4883-B8E7-629BA569EF6B}"/>
                </a:ext>
              </a:extLst>
            </p:cNvPr>
            <p:cNvSpPr/>
            <p:nvPr/>
          </p:nvSpPr>
          <p:spPr>
            <a:xfrm>
              <a:off x="8903192" y="4145281"/>
              <a:ext cx="1579215" cy="1798320"/>
            </a:xfrm>
            <a:custGeom>
              <a:avLst/>
              <a:gdLst>
                <a:gd name="connsiteX0" fmla="*/ 0 w 1579215"/>
                <a:gd name="connsiteY0" fmla="*/ 0 h 1798320"/>
                <a:gd name="connsiteX1" fmla="*/ 1579215 w 1579215"/>
                <a:gd name="connsiteY1" fmla="*/ 0 h 1798320"/>
                <a:gd name="connsiteX2" fmla="*/ 1579215 w 1579215"/>
                <a:gd name="connsiteY2" fmla="*/ 1798320 h 1798320"/>
                <a:gd name="connsiteX3" fmla="*/ 0 w 1579215"/>
                <a:gd name="connsiteY3" fmla="*/ 1798320 h 1798320"/>
                <a:gd name="connsiteX4" fmla="*/ 0 w 1579215"/>
                <a:gd name="connsiteY4" fmla="*/ 0 h 179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9215" h="1798320">
                  <a:moveTo>
                    <a:pt x="0" y="0"/>
                  </a:moveTo>
                  <a:lnTo>
                    <a:pt x="1579215" y="0"/>
                  </a:lnTo>
                  <a:lnTo>
                    <a:pt x="1579215" y="1798320"/>
                  </a:lnTo>
                  <a:lnTo>
                    <a:pt x="0" y="17983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13792" rIns="113792" bIns="113792" numCol="1" spcCol="1270" anchor="t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2000" kern="1200" dirty="0"/>
                <a:t>Different approach needed to solve these problems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4BEB193-BB5C-4709-B99B-E287DC5465DD}"/>
                </a:ext>
              </a:extLst>
            </p:cNvPr>
            <p:cNvSpPr/>
            <p:nvPr/>
          </p:nvSpPr>
          <p:spPr>
            <a:xfrm>
              <a:off x="9468009" y="3470911"/>
              <a:ext cx="449580" cy="449580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27" name="Speech Bubble: Rectangle 26">
            <a:extLst>
              <a:ext uri="{FF2B5EF4-FFF2-40B4-BE49-F238E27FC236}">
                <a16:creationId xmlns:a16="http://schemas.microsoft.com/office/drawing/2014/main" id="{33EED885-85F0-4537-BB59-02335C7D687E}"/>
              </a:ext>
            </a:extLst>
          </p:cNvPr>
          <p:cNvSpPr/>
          <p:nvPr/>
        </p:nvSpPr>
        <p:spPr>
          <a:xfrm>
            <a:off x="609600" y="1447800"/>
            <a:ext cx="2819400" cy="699404"/>
          </a:xfrm>
          <a:prstGeom prst="wedgeRectCallout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anchor="ctr">
            <a:spAutoFit/>
          </a:bodyPr>
          <a:lstStyle/>
          <a:p>
            <a:pPr lvl="0"/>
            <a:r>
              <a:rPr lang="en-US" dirty="0">
                <a:solidFill>
                  <a:prstClr val="black"/>
                </a:solidFill>
                <a:latin typeface="Calibri"/>
              </a:rPr>
              <a:t>Only hardened part is timing annotated </a:t>
            </a:r>
            <a:r>
              <a:rPr lang="en-US" dirty="0">
                <a:solidFill>
                  <a:prstClr val="black"/>
                </a:solidFill>
                <a:latin typeface="Calibri"/>
                <a:sym typeface="Wingdings" panose="05000000000000000000" pitchFamily="2" charset="2"/>
              </a:rPr>
              <a:t>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Rest is still RTL</a:t>
            </a:r>
            <a:endParaRPr lang="en-IN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4245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IG Flow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4BA6CD9E-8F3D-4B90-AF85-1397611B2CAE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28637890"/>
              </p:ext>
            </p:extLst>
          </p:nvPr>
        </p:nvGraphicFramePr>
        <p:xfrm>
          <a:off x="457201" y="2218864"/>
          <a:ext cx="5867399" cy="25526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27" name="16 Takeaway ocean">
            <a:extLst>
              <a:ext uri="{FF2B5EF4-FFF2-40B4-BE49-F238E27FC236}">
                <a16:creationId xmlns:a16="http://schemas.microsoft.com/office/drawing/2014/main" id="{2E8D0E15-1F57-434A-997F-53A274F843DF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685800" y="1566251"/>
            <a:ext cx="4876800" cy="504000"/>
            <a:chOff x="335361" y="5877752"/>
            <a:chExt cx="4876800" cy="504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3F5B64D-3074-4D19-9877-2F49FC317249}"/>
                </a:ext>
              </a:extLst>
            </p:cNvPr>
            <p:cNvSpPr/>
            <p:nvPr/>
          </p:nvSpPr>
          <p:spPr bwMode="auto">
            <a:xfrm>
              <a:off x="335361" y="5877752"/>
              <a:ext cx="4876800" cy="504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540000" tIns="72000" rIns="72000" bIns="72000" rtlCol="0" anchor="ctr">
              <a:noAutofit/>
            </a:bodyPr>
            <a:lstStyle/>
            <a:p>
              <a:pPr defTabSz="576000" eaLnBrk="0" hangingPunct="0">
                <a:lnSpc>
                  <a:spcPct val="120000"/>
                </a:lnSpc>
              </a:pPr>
              <a:r>
                <a:rPr lang="en-IN" sz="2400" dirty="0">
                  <a:solidFill>
                    <a:schemeClr val="bg1"/>
                  </a:solidFill>
                  <a:latin typeface="+mn-lt"/>
                  <a:cs typeface="+mn-cs"/>
                </a:rPr>
                <a:t>HISIG - </a:t>
              </a:r>
              <a:r>
                <a:rPr lang="en-US" sz="2400" dirty="0">
                  <a:solidFill>
                    <a:schemeClr val="bg1"/>
                  </a:solidFill>
                  <a:latin typeface="+mn-lt"/>
                  <a:cs typeface="+mn-cs"/>
                </a:rPr>
                <a:t>Hard IP inside Soft IP GLS</a:t>
              </a:r>
              <a:r>
                <a:rPr lang="en-IN" sz="24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383E8E2-BC2E-4CD6-A901-44616E2DD42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0870" y="6003753"/>
              <a:ext cx="220501" cy="252000"/>
              <a:chOff x="3925566" y="3736161"/>
              <a:chExt cx="200026" cy="228600"/>
            </a:xfrm>
            <a:solidFill>
              <a:schemeClr val="bg1"/>
            </a:solidFill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74F54327-D353-4518-9AD9-CB21ED470DD0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3877941" y="3783786"/>
                <a:ext cx="228600" cy="133350"/>
              </a:xfrm>
              <a:custGeom>
                <a:avLst/>
                <a:gdLst>
                  <a:gd name="connsiteX0" fmla="*/ 20479 w 228600"/>
                  <a:gd name="connsiteY0" fmla="*/ 128111 h 133350"/>
                  <a:gd name="connsiteX1" fmla="*/ 7144 w 228600"/>
                  <a:gd name="connsiteY1" fmla="*/ 114776 h 133350"/>
                  <a:gd name="connsiteX2" fmla="*/ 111919 w 228600"/>
                  <a:gd name="connsiteY2" fmla="*/ 7144 h 133350"/>
                  <a:gd name="connsiteX3" fmla="*/ 224314 w 228600"/>
                  <a:gd name="connsiteY3" fmla="*/ 114776 h 133350"/>
                  <a:gd name="connsiteX4" fmla="*/ 210979 w 228600"/>
                  <a:gd name="connsiteY4" fmla="*/ 128111 h 133350"/>
                  <a:gd name="connsiteX5" fmla="*/ 111919 w 228600"/>
                  <a:gd name="connsiteY5" fmla="*/ 33814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133350">
                    <a:moveTo>
                      <a:pt x="20479" y="128111"/>
                    </a:moveTo>
                    <a:lnTo>
                      <a:pt x="7144" y="114776"/>
                    </a:lnTo>
                    <a:lnTo>
                      <a:pt x="111919" y="7144"/>
                    </a:lnTo>
                    <a:lnTo>
                      <a:pt x="224314" y="114776"/>
                    </a:lnTo>
                    <a:lnTo>
                      <a:pt x="210979" y="128111"/>
                    </a:lnTo>
                    <a:lnTo>
                      <a:pt x="111919" y="338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B0D5A618-2501-4C89-AE69-7DFFD55BA91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3944617" y="3783786"/>
                <a:ext cx="228600" cy="133350"/>
              </a:xfrm>
              <a:custGeom>
                <a:avLst/>
                <a:gdLst>
                  <a:gd name="connsiteX0" fmla="*/ 115729 w 228600"/>
                  <a:gd name="connsiteY0" fmla="*/ 128111 h 133350"/>
                  <a:gd name="connsiteX1" fmla="*/ 7144 w 228600"/>
                  <a:gd name="connsiteY1" fmla="*/ 20479 h 133350"/>
                  <a:gd name="connsiteX2" fmla="*/ 20479 w 228600"/>
                  <a:gd name="connsiteY2" fmla="*/ 7144 h 133350"/>
                  <a:gd name="connsiteX3" fmla="*/ 115729 w 228600"/>
                  <a:gd name="connsiteY3" fmla="*/ 101441 h 133350"/>
                  <a:gd name="connsiteX4" fmla="*/ 210979 w 228600"/>
                  <a:gd name="connsiteY4" fmla="*/ 7144 h 133350"/>
                  <a:gd name="connsiteX5" fmla="*/ 224314 w 228600"/>
                  <a:gd name="connsiteY5" fmla="*/ 20479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133350">
                    <a:moveTo>
                      <a:pt x="115729" y="128111"/>
                    </a:moveTo>
                    <a:lnTo>
                      <a:pt x="7144" y="20479"/>
                    </a:lnTo>
                    <a:lnTo>
                      <a:pt x="20479" y="7144"/>
                    </a:lnTo>
                    <a:lnTo>
                      <a:pt x="115729" y="101441"/>
                    </a:lnTo>
                    <a:lnTo>
                      <a:pt x="210979" y="7144"/>
                    </a:lnTo>
                    <a:lnTo>
                      <a:pt x="224314" y="2047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</p:grp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48E9F6D9-4017-477D-AE56-25EE5F4675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9800" y="1219200"/>
            <a:ext cx="5621754" cy="4648200"/>
          </a:xfrm>
          <a:prstGeom prst="rect">
            <a:avLst/>
          </a:prstGeom>
        </p:spPr>
      </p:pic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373C7B0F-39D3-4D8A-915A-DF9DEF07D929}"/>
              </a:ext>
            </a:extLst>
          </p:cNvPr>
          <p:cNvSpPr/>
          <p:nvPr/>
        </p:nvSpPr>
        <p:spPr>
          <a:xfrm>
            <a:off x="2324100" y="4914323"/>
            <a:ext cx="5715000" cy="699404"/>
          </a:xfrm>
          <a:prstGeom prst="wedgeRectCallout">
            <a:avLst>
              <a:gd name="adj1" fmla="val 64797"/>
              <a:gd name="adj2" fmla="val -60976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anchor="ctr">
            <a:spAutoFit/>
          </a:bodyPr>
          <a:lstStyle/>
          <a:p>
            <a:pPr defTabSz="826587"/>
            <a:r>
              <a:rPr lang="en-US" dirty="0">
                <a:solidFill>
                  <a:schemeClr val="bg1"/>
                </a:solidFill>
                <a:latin typeface="+mn-lt"/>
              </a:rPr>
              <a:t>Run additional tests for timing critical paths &amp; desired coverage - Single Data Rate (SDR) &amp; Double Data Rate (DDR)</a:t>
            </a:r>
            <a:endParaRPr lang="en-IN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40257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SIG Automation &amp; TB setup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1169F45-F15A-4898-912B-2D5A828FF6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276600" y="2575958"/>
            <a:ext cx="7391400" cy="2492992"/>
          </a:xfrm>
          <a:prstGeom prst="rect">
            <a:avLst/>
          </a:prstGeom>
        </p:spPr>
      </p:pic>
      <p:grpSp>
        <p:nvGrpSpPr>
          <p:cNvPr id="44" name="16 Takeaway ocean">
            <a:extLst>
              <a:ext uri="{FF2B5EF4-FFF2-40B4-BE49-F238E27FC236}">
                <a16:creationId xmlns:a16="http://schemas.microsoft.com/office/drawing/2014/main" id="{0B722D6E-E5D3-407D-BD83-7D3A584DC2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>
          <a:xfrm>
            <a:off x="6477000" y="5194949"/>
            <a:ext cx="4191000" cy="504000"/>
            <a:chOff x="335360" y="5877752"/>
            <a:chExt cx="4191000" cy="5040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62698E1-20AE-4804-81D6-AFE34EEF1C77}"/>
                </a:ext>
              </a:extLst>
            </p:cNvPr>
            <p:cNvSpPr/>
            <p:nvPr/>
          </p:nvSpPr>
          <p:spPr bwMode="auto">
            <a:xfrm>
              <a:off x="335360" y="5877752"/>
              <a:ext cx="4191000" cy="504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540000" tIns="72000" rIns="72000" bIns="72000" rtlCol="0" anchor="ctr">
              <a:noAutofit/>
            </a:bodyPr>
            <a:lstStyle/>
            <a:p>
              <a:pPr defTabSz="576000" eaLnBrk="0" hangingPunct="0">
                <a:lnSpc>
                  <a:spcPct val="120000"/>
                </a:lnSpc>
              </a:pPr>
              <a:r>
                <a:rPr lang="en-IN" dirty="0">
                  <a:solidFill>
                    <a:schemeClr val="bg1"/>
                  </a:solidFill>
                  <a:latin typeface="+mn-lt"/>
                </a:rPr>
                <a:t>Standalone TB for Hard IP sub-block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1B5A8DA2-094E-419F-87E5-704E21DCCF9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0870" y="6003753"/>
              <a:ext cx="220501" cy="252000"/>
              <a:chOff x="3925566" y="3736161"/>
              <a:chExt cx="200026" cy="228600"/>
            </a:xfrm>
            <a:solidFill>
              <a:schemeClr val="bg1"/>
            </a:solidFill>
          </p:grpSpPr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CE844BE3-952B-4D53-BB0A-7657EADFE458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3877941" y="3783786"/>
                <a:ext cx="228600" cy="133350"/>
              </a:xfrm>
              <a:custGeom>
                <a:avLst/>
                <a:gdLst>
                  <a:gd name="connsiteX0" fmla="*/ 20479 w 228600"/>
                  <a:gd name="connsiteY0" fmla="*/ 128111 h 133350"/>
                  <a:gd name="connsiteX1" fmla="*/ 7144 w 228600"/>
                  <a:gd name="connsiteY1" fmla="*/ 114776 h 133350"/>
                  <a:gd name="connsiteX2" fmla="*/ 111919 w 228600"/>
                  <a:gd name="connsiteY2" fmla="*/ 7144 h 133350"/>
                  <a:gd name="connsiteX3" fmla="*/ 224314 w 228600"/>
                  <a:gd name="connsiteY3" fmla="*/ 114776 h 133350"/>
                  <a:gd name="connsiteX4" fmla="*/ 210979 w 228600"/>
                  <a:gd name="connsiteY4" fmla="*/ 128111 h 133350"/>
                  <a:gd name="connsiteX5" fmla="*/ 111919 w 228600"/>
                  <a:gd name="connsiteY5" fmla="*/ 33814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133350">
                    <a:moveTo>
                      <a:pt x="20479" y="128111"/>
                    </a:moveTo>
                    <a:lnTo>
                      <a:pt x="7144" y="114776"/>
                    </a:lnTo>
                    <a:lnTo>
                      <a:pt x="111919" y="7144"/>
                    </a:lnTo>
                    <a:lnTo>
                      <a:pt x="224314" y="114776"/>
                    </a:lnTo>
                    <a:lnTo>
                      <a:pt x="210979" y="128111"/>
                    </a:lnTo>
                    <a:lnTo>
                      <a:pt x="111919" y="3381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99F4EFFC-0645-4287-8B94-D60A746B537B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6200000">
                <a:off x="3944617" y="3783786"/>
                <a:ext cx="228600" cy="133350"/>
              </a:xfrm>
              <a:custGeom>
                <a:avLst/>
                <a:gdLst>
                  <a:gd name="connsiteX0" fmla="*/ 115729 w 228600"/>
                  <a:gd name="connsiteY0" fmla="*/ 128111 h 133350"/>
                  <a:gd name="connsiteX1" fmla="*/ 7144 w 228600"/>
                  <a:gd name="connsiteY1" fmla="*/ 20479 h 133350"/>
                  <a:gd name="connsiteX2" fmla="*/ 20479 w 228600"/>
                  <a:gd name="connsiteY2" fmla="*/ 7144 h 133350"/>
                  <a:gd name="connsiteX3" fmla="*/ 115729 w 228600"/>
                  <a:gd name="connsiteY3" fmla="*/ 101441 h 133350"/>
                  <a:gd name="connsiteX4" fmla="*/ 210979 w 228600"/>
                  <a:gd name="connsiteY4" fmla="*/ 7144 h 133350"/>
                  <a:gd name="connsiteX5" fmla="*/ 224314 w 228600"/>
                  <a:gd name="connsiteY5" fmla="*/ 20479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8600" h="133350">
                    <a:moveTo>
                      <a:pt x="115729" y="128111"/>
                    </a:moveTo>
                    <a:lnTo>
                      <a:pt x="7144" y="20479"/>
                    </a:lnTo>
                    <a:lnTo>
                      <a:pt x="20479" y="7144"/>
                    </a:lnTo>
                    <a:lnTo>
                      <a:pt x="115729" y="101441"/>
                    </a:lnTo>
                    <a:lnTo>
                      <a:pt x="210979" y="7144"/>
                    </a:lnTo>
                    <a:lnTo>
                      <a:pt x="224314" y="2047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dirty="0"/>
              </a:p>
            </p:txBody>
          </p:sp>
        </p:grpSp>
      </p:grpSp>
      <p:sp>
        <p:nvSpPr>
          <p:cNvPr id="49" name="13 Comment">
            <a:extLst>
              <a:ext uri="{FF2B5EF4-FFF2-40B4-BE49-F238E27FC236}">
                <a16:creationId xmlns:a16="http://schemas.microsoft.com/office/drawing/2014/main" id="{C5A2295A-EE7E-4E75-98AA-4544D7F2391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 flipH="1">
            <a:off x="3621053" y="1708876"/>
            <a:ext cx="2170146" cy="699404"/>
          </a:xfrm>
          <a:prstGeom prst="wedgeRectCallout">
            <a:avLst>
              <a:gd name="adj1" fmla="val 20513"/>
              <a:gd name="adj2" fmla="val 85808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2000" rIns="72000" bIns="72000" anchor="ctr">
            <a:spAutoFit/>
          </a:bodyPr>
          <a:lstStyle/>
          <a:p>
            <a:pPr defTabSz="826587"/>
            <a:r>
              <a:rPr lang="en-IN" dirty="0">
                <a:solidFill>
                  <a:schemeClr val="bg1"/>
                </a:solidFill>
                <a:latin typeface="+mn-lt"/>
              </a:rPr>
              <a:t>Reads VCD from RTL simulation of full IP</a:t>
            </a:r>
          </a:p>
        </p:txBody>
      </p:sp>
      <p:sp>
        <p:nvSpPr>
          <p:cNvPr id="52" name="13 Comment">
            <a:extLst>
              <a:ext uri="{FF2B5EF4-FFF2-40B4-BE49-F238E27FC236}">
                <a16:creationId xmlns:a16="http://schemas.microsoft.com/office/drawing/2014/main" id="{769F1C07-8F9A-455D-A1E1-F4D61CD1718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flipH="1">
            <a:off x="657842" y="4427345"/>
            <a:ext cx="2213532" cy="976403"/>
          </a:xfrm>
          <a:prstGeom prst="wedgeRectCallout">
            <a:avLst>
              <a:gd name="adj1" fmla="val -122292"/>
              <a:gd name="adj2" fmla="val -72674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2000" rIns="72000" bIns="72000" anchor="ctr">
            <a:spAutoFit/>
          </a:bodyPr>
          <a:lstStyle/>
          <a:p>
            <a:pPr defTabSz="826587"/>
            <a:r>
              <a:rPr lang="en-US" dirty="0">
                <a:solidFill>
                  <a:schemeClr val="bg1"/>
                </a:solidFill>
                <a:latin typeface="+mn-lt"/>
              </a:rPr>
              <a:t>Drive inactive values to Power control &amp; test mode pins</a:t>
            </a:r>
            <a:endParaRPr lang="en-IN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347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ting VCD Toggles to SV TB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213620F-7B75-47B0-9157-4771755C9D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038600" y="1548095"/>
            <a:ext cx="6038850" cy="4178300"/>
          </a:xfrm>
          <a:prstGeom prst="rect">
            <a:avLst/>
          </a:prstGeom>
        </p:spPr>
      </p:pic>
      <p:sp>
        <p:nvSpPr>
          <p:cNvPr id="9" name="13 Comment">
            <a:extLst>
              <a:ext uri="{FF2B5EF4-FFF2-40B4-BE49-F238E27FC236}">
                <a16:creationId xmlns:a16="http://schemas.microsoft.com/office/drawing/2014/main" id="{18FAA16E-5D1E-4BAE-B4EE-1E930045E83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H="1">
            <a:off x="635000" y="2175599"/>
            <a:ext cx="3124200" cy="976403"/>
          </a:xfrm>
          <a:prstGeom prst="wedgeRectCallout">
            <a:avLst>
              <a:gd name="adj1" fmla="val -60813"/>
              <a:gd name="adj2" fmla="val -36429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square" lIns="72000" tIns="72000" rIns="72000" bIns="72000" anchor="ctr">
            <a:spAutoFit/>
          </a:bodyPr>
          <a:lstStyle/>
          <a:p>
            <a:pPr defTabSz="826587"/>
            <a:r>
              <a:rPr lang="en-IN" dirty="0">
                <a:solidFill>
                  <a:schemeClr val="bg1"/>
                </a:solidFill>
                <a:latin typeface="+mn-lt"/>
              </a:rPr>
              <a:t>Functional input pins captured as SV nets along with all toggle inform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50EA40-AEC8-4BAE-AA8D-5AACDF157225}"/>
              </a:ext>
            </a:extLst>
          </p:cNvPr>
          <p:cNvSpPr/>
          <p:nvPr/>
        </p:nvSpPr>
        <p:spPr bwMode="auto">
          <a:xfrm>
            <a:off x="635000" y="3426042"/>
            <a:ext cx="1955800" cy="422405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anchor="ctr">
            <a:spAutoFit/>
          </a:bodyPr>
          <a:lstStyle/>
          <a:p>
            <a:pPr defTabSz="826587"/>
            <a:r>
              <a:rPr lang="en-IN" dirty="0">
                <a:solidFill>
                  <a:schemeClr val="bg1"/>
                </a:solidFill>
                <a:latin typeface="+mn-lt"/>
              </a:rPr>
              <a:t>SV – System Verilog</a:t>
            </a:r>
          </a:p>
        </p:txBody>
      </p:sp>
    </p:spTree>
    <p:extLst>
      <p:ext uri="{BB962C8B-B14F-4D97-AF65-F5344CB8AC3E}">
        <p14:creationId xmlns:p14="http://schemas.microsoft.com/office/powerpoint/2010/main" val="3114229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S &amp; RTL Output Comparis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ccellera Systems Initiativ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2C92B28-6BAA-4842-94C1-94B28C0B9FD2}"/>
              </a:ext>
            </a:extLst>
          </p:cNvPr>
          <p:cNvGrpSpPr/>
          <p:nvPr/>
        </p:nvGrpSpPr>
        <p:grpSpPr>
          <a:xfrm>
            <a:off x="1371599" y="4267200"/>
            <a:ext cx="9661963" cy="504000"/>
            <a:chOff x="1600199" y="5289338"/>
            <a:chExt cx="9661963" cy="504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F62653B-9A71-4F0F-8E73-D5238897CF75}"/>
                </a:ext>
              </a:extLst>
            </p:cNvPr>
            <p:cNvSpPr/>
            <p:nvPr/>
          </p:nvSpPr>
          <p:spPr bwMode="auto">
            <a:xfrm>
              <a:off x="1600199" y="5289338"/>
              <a:ext cx="9661963" cy="50400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540000" tIns="72000" rIns="72000" bIns="72000" rtlCol="0" anchor="ctr">
              <a:noAutofit/>
            </a:bodyPr>
            <a:lstStyle/>
            <a:p>
              <a:pPr defTabSz="576000" eaLnBrk="0" hangingPunct="0">
                <a:lnSpc>
                  <a:spcPct val="120000"/>
                </a:lnSpc>
              </a:pPr>
              <a:r>
                <a:rPr lang="en-US" sz="2000" dirty="0">
                  <a:solidFill>
                    <a:schemeClr val="bg1"/>
                  </a:solidFill>
                  <a:latin typeface="+mn-lt"/>
                  <a:cs typeface="+mn-cs"/>
                </a:rPr>
                <a:t>Assertions to compare all outputs b/w GLS and RTL toggles</a:t>
              </a:r>
            </a:p>
          </p:txBody>
        </p:sp>
        <p:pic>
          <p:nvPicPr>
            <p:cNvPr id="47" name="Check">
              <a:extLst>
                <a:ext uri="{FF2B5EF4-FFF2-40B4-BE49-F238E27FC236}">
                  <a16:creationId xmlns:a16="http://schemas.microsoft.com/office/drawing/2014/main" id="{9C53A975-9B0A-4772-ADD0-F60388AA7E4E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76400" y="5349769"/>
              <a:ext cx="383138" cy="383138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B9C4356D-AAAC-46BA-95A1-A17778CED1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5400" y="2042676"/>
            <a:ext cx="9738163" cy="211788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59E2B21-E6C6-484E-A038-B53991D3CDCC}"/>
              </a:ext>
            </a:extLst>
          </p:cNvPr>
          <p:cNvSpPr/>
          <p:nvPr/>
        </p:nvSpPr>
        <p:spPr bwMode="auto">
          <a:xfrm>
            <a:off x="8763000" y="5106441"/>
            <a:ext cx="2819400" cy="760959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72000" rIns="72000" bIns="72000" anchor="ctr">
            <a:spAutoFit/>
          </a:bodyPr>
          <a:lstStyle/>
          <a:p>
            <a:pPr defTabSz="826587"/>
            <a:r>
              <a:rPr lang="en-IN" sz="2000" dirty="0">
                <a:solidFill>
                  <a:schemeClr val="bg1"/>
                </a:solidFill>
                <a:latin typeface="+mn-lt"/>
              </a:rPr>
              <a:t>rtl_out_x – RTL output</a:t>
            </a:r>
          </a:p>
          <a:p>
            <a:pPr defTabSz="826587"/>
            <a:r>
              <a:rPr lang="en-IN" sz="2000" dirty="0">
                <a:solidFill>
                  <a:schemeClr val="bg1"/>
                </a:solidFill>
                <a:latin typeface="+mn-lt"/>
              </a:rPr>
              <a:t>gls_out_x – GLS output</a:t>
            </a:r>
          </a:p>
        </p:txBody>
      </p:sp>
    </p:spTree>
    <p:extLst>
      <p:ext uri="{BB962C8B-B14F-4D97-AF65-F5344CB8AC3E}">
        <p14:creationId xmlns:p14="http://schemas.microsoft.com/office/powerpoint/2010/main" val="30166564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711dbf6-02e7-4621-9392-e99f230fd7ee"/>
  <p:tag name="MIO_GUID" val="90485b9c-110e-49e7-9cba-8164eae678ee"/>
  <p:tag name="MIO_UPDATE" val="True"/>
  <p:tag name="MIO_VERSION" val="09.03.2023 10:25:52"/>
  <p:tag name="MIO_DBID" val="FDE84254-54DB-49E3-9A0E-CDE72035D530"/>
  <p:tag name="MIO_LASTDOWNLOADED" val="02.08.2023 14:09:33.673"/>
  <p:tag name="MIO_OBJECTNAME" val="16 Takeaway ocean"/>
  <p:tag name="MIO_LASTEDITORNAME" val="Verena Koh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711dbf6-02e7-4621-9392-e99f230fd7ee"/>
  <p:tag name="MIO_GUID" val="7f49a8ec-09f8-447e-a60a-8e9095175c5e"/>
  <p:tag name="MIO_UPDATE" val="True"/>
  <p:tag name="MIO_VERSION" val="09.03.2023 10:25:52"/>
  <p:tag name="MIO_DBID" val="FDE84254-54DB-49E3-9A0E-CDE72035D530"/>
  <p:tag name="MIO_LASTDOWNLOADED" val="01.08.2023 11:53:12.352"/>
  <p:tag name="MIO_OBJECTNAME" val="16 Takeaway ocean"/>
  <p:tag name="MIO_LASTEDITORNAME" val="Verena Koh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951"/>
  <p:tag name="MIO_GUID" val="7e34d5e0-72ca-439f-a157-e81a3f8c46f6"/>
  <p:tag name="MIO_EKGUID" val="0b0a19bd-8dea-463a-a48a-403523bea03e"/>
  <p:tag name="MIO_UPDATE" val="True"/>
  <p:tag name="MIO_VERSION" val="09.03.2023 10:30:16"/>
  <p:tag name="MIO_DBID" val="FDE84254-54DB-49E3-9A0E-CDE72035D530"/>
  <p:tag name="MIO_LASTDOWNLOADED" val="01.08.2023 23:40:36.708"/>
  <p:tag name="MIO_OBJECTNAME" val="13 Comment"/>
  <p:tag name="MIO_LASTEDITORNAME" val="Verena Koh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951"/>
  <p:tag name="MIO_GUID" val="7e34d5e0-72ca-439f-a157-e81a3f8c46f6"/>
  <p:tag name="MIO_EKGUID" val="0b0a19bd-8dea-463a-a48a-403523bea03e"/>
  <p:tag name="MIO_UPDATE" val="True"/>
  <p:tag name="MIO_VERSION" val="09.03.2023 10:30:16"/>
  <p:tag name="MIO_DBID" val="FDE84254-54DB-49E3-9A0E-CDE72035D530"/>
  <p:tag name="MIO_LASTDOWNLOADED" val="01.08.2023 23:40:36.708"/>
  <p:tag name="MIO_OBJECTNAME" val="13 Comment"/>
  <p:tag name="MIO_LASTEDITORNAME" val="Verena Koh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951"/>
  <p:tag name="MIO_GUID" val="7e34d5e0-72ca-439f-a157-e81a3f8c46f6"/>
  <p:tag name="MIO_EKGUID" val="0b0a19bd-8dea-463a-a48a-403523bea03e"/>
  <p:tag name="MIO_UPDATE" val="True"/>
  <p:tag name="MIO_VERSION" val="09.03.2023 10:30:16"/>
  <p:tag name="MIO_DBID" val="FDE84254-54DB-49E3-9A0E-CDE72035D530"/>
  <p:tag name="MIO_LASTDOWNLOADED" val="01.08.2023 23:40:36.708"/>
  <p:tag name="MIO_OBJECTNAME" val="13 Comment"/>
  <p:tag name="MIO_LASTEDITORNAME" val="Verena Koh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7756b203-ed54-408e-8fbe-58ad70ec4070"/>
  <p:tag name="MIO_UPDATE" val="True"/>
  <p:tag name="MIO_VERSION" val="05.03.2023 11:09:35"/>
  <p:tag name="MIO_DBID" val="FDE84254-54DB-49E3-9A0E-CDE72035D530"/>
  <p:tag name="MIO_LASTDOWNLOADED" val="01.08.2023 18:14:45.205"/>
  <p:tag name="MIO_OBJECTNAME" val="Check"/>
  <p:tag name="MIO_LASTEDITORNAME" val="Verena Koh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414782c-cd95-4aba-ac42-9093a1d825d5"/>
  <p:tag name="MIO_EKGUID" val="352833ab-dbe3-4a4b-9117-32ddd66d1bbd"/>
  <p:tag name="MIO_UPDATE" val="True"/>
  <p:tag name="MIO_VERSION" val="09.03.2023 11:06:45"/>
  <p:tag name="MIO_DBID" val="FDE84254-54DB-49E3-9A0E-CDE72035D530"/>
  <p:tag name="MIO_LASTDOWNLOADED" val="02.08.2023 15:49:43.963"/>
  <p:tag name="MIO_OBJECTNAME" val="Icon / Text box (5)"/>
  <p:tag name="MIO_LASTEDITORNAME" val="Verena Koh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8e000bf-c105-473f-919c-87ac672a201a"/>
  <p:tag name="MIO_GUID" val="e0c9d955-b70f-40f5-bc63-a6601fe259d0"/>
  <p:tag name="MIO_UPDATE" val="True"/>
  <p:tag name="MIO_VERSION" val="16.01.2021 10:32:51"/>
  <p:tag name="MIO_DBID" val="FDE84254-54DB-49E3-9A0E-CDE72035D530"/>
  <p:tag name="MIO_LASTDOWNLOADED" val="02.08.2023 15:51:38.550"/>
  <p:tag name="MIO_OBJECTNAME" val="Best-Choice Round"/>
  <p:tag name="MIO_LASTEDITORNAME" val="Tim Tuerg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8e000bf-c105-473f-919c-87ac672a201a"/>
  <p:tag name="MIO_GUID" val="e0c9d955-b70f-40f5-bc63-a6601fe259d0"/>
  <p:tag name="MIO_UPDATE" val="True"/>
  <p:tag name="MIO_VERSION" val="16.01.2021 10:32:51"/>
  <p:tag name="MIO_DBID" val="FDE84254-54DB-49E3-9A0E-CDE72035D530"/>
  <p:tag name="MIO_LASTDOWNLOADED" val="02.08.2023 15:51:38.550"/>
  <p:tag name="MIO_OBJECTNAME" val="Best-Choice Round"/>
  <p:tag name="MIO_LASTEDITORNAME" val="Tim Tuerg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8e000bf-c105-473f-919c-87ac672a201a"/>
  <p:tag name="MIO_GUID" val="e0c9d955-b70f-40f5-bc63-a6601fe259d0"/>
  <p:tag name="MIO_UPDATE" val="True"/>
  <p:tag name="MIO_VERSION" val="16.01.2021 10:32:51"/>
  <p:tag name="MIO_DBID" val="FDE84254-54DB-49E3-9A0E-CDE72035D530"/>
  <p:tag name="MIO_LASTDOWNLOADED" val="02.08.2023 15:51:38.550"/>
  <p:tag name="MIO_OBJECTNAME" val="Best-Choice Round"/>
  <p:tag name="MIO_LASTEDITORNAME" val="Tim Tuerg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9eea6-1d62-4452-869b-b6caf58e67d5"/>
  <p:tag name="MIO_EK" val="647"/>
  <p:tag name="MIO_EKGUID" val="1ae9b69e-f2e7-4adf-a9c5-83a418291739"/>
  <p:tag name="MIO_UPDATE" val="True"/>
  <p:tag name="MIO_VERSION" val="09.03.2023 10:09:02"/>
  <p:tag name="MIO_DBID" val="FDE84254-54DB-49E3-9A0E-CDE72035D530"/>
  <p:tag name="MIO_LASTDOWNLOADED" val="01.08.2023 07:44:06.106"/>
  <p:tag name="MIO_OBJECTNAME" val="Post-it"/>
  <p:tag name="MIO_LASTEDITORNAME" val="Verena Koh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8e000bf-c105-473f-919c-87ac672a201a"/>
  <p:tag name="MIO_GUID" val="e0c9d955-b70f-40f5-bc63-a6601fe259d0"/>
  <p:tag name="MIO_UPDATE" val="True"/>
  <p:tag name="MIO_VERSION" val="16.01.2021 10:32:51"/>
  <p:tag name="MIO_DBID" val="FDE84254-54DB-49E3-9A0E-CDE72035D530"/>
  <p:tag name="MIO_LASTDOWNLOADED" val="02.08.2023 15:51:38.550"/>
  <p:tag name="MIO_OBJECTNAME" val="Best-Choice Round"/>
  <p:tag name="MIO_LASTEDITORNAME" val="Tim Tuerg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8e000bf-c105-473f-919c-87ac672a201a"/>
  <p:tag name="MIO_GUID" val="e0c9d955-b70f-40f5-bc63-a6601fe259d0"/>
  <p:tag name="MIO_UPDATE" val="True"/>
  <p:tag name="MIO_VERSION" val="16.01.2021 10:32:51"/>
  <p:tag name="MIO_DBID" val="FDE84254-54DB-49E3-9A0E-CDE72035D530"/>
  <p:tag name="MIO_LASTDOWNLOADED" val="02.08.2023 15:51:38.550"/>
  <p:tag name="MIO_OBJECTNAME" val="Best-Choice Round"/>
  <p:tag name="MIO_LASTEDITORNAME" val="Tim Tuerg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414782c-cd95-4aba-ac42-9093a1d825d5"/>
  <p:tag name="MIO_EKGUID" val="352833ab-dbe3-4a4b-9117-32ddd66d1bbd"/>
  <p:tag name="MIO_UPDATE" val="True"/>
  <p:tag name="MIO_VERSION" val="09.03.2023 11:06:45"/>
  <p:tag name="MIO_DBID" val="FDE84254-54DB-49E3-9A0E-CDE72035D530"/>
  <p:tag name="MIO_LASTDOWNLOADED" val="01.08.2023 13:40:00.511"/>
  <p:tag name="MIO_OBJECTNAME" val="Icon / Text box (5)"/>
  <p:tag name="MIO_LASTEDITORNAME" val="Verena Koh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216d1b5-1ad8-4359-bfa4-551fd3f7d849"/>
  <p:tag name="MIO_GUID" val="ba0474c5-6dc8-4997-834e-484c45e6adc8"/>
  <p:tag name="MIO_UPDATE" val="True"/>
  <p:tag name="MIO_VERSION" val="16.01.2021 10:17:58"/>
  <p:tag name="MIO_DBID" val="FDE84254-54DB-49E3-9A0E-CDE72035D530"/>
  <p:tag name="MIO_LASTDOWNLOADED" val="01.08.2023 15:06:14.507"/>
  <p:tag name="MIO_OBJECTNAME" val="Attention"/>
  <p:tag name="MIO_LASTEDITORNAME" val="Tim Tuerg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216d1b5-1ad8-4359-bfa4-551fd3f7d849"/>
  <p:tag name="MIO_GUID" val="2b501069-9c5f-4d8d-9938-ea42bac7302f"/>
  <p:tag name="MIO_UPDATE" val="True"/>
  <p:tag name="MIO_VERSION" val="16.01.2021 10:17:58"/>
  <p:tag name="MIO_DBID" val="FDE84254-54DB-49E3-9A0E-CDE72035D530"/>
  <p:tag name="MIO_LASTDOWNLOADED" val="01.08.2023 15:06:04.614"/>
  <p:tag name="MIO_OBJECTNAME" val="Attention"/>
  <p:tag name="MIO_LASTEDITORNAME" val="Tim Tuerg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216d1b5-1ad8-4359-bfa4-551fd3f7d849"/>
  <p:tag name="MIO_GUID" val="0b39d09e-6053-4c2d-a054-c0bdc9a94b78"/>
  <p:tag name="MIO_UPDATE" val="True"/>
  <p:tag name="MIO_VERSION" val="16.01.2021 10:17:58"/>
  <p:tag name="MIO_DBID" val="FDE84254-54DB-49E3-9A0E-CDE72035D530"/>
  <p:tag name="MIO_LASTDOWNLOADED" val="01.08.2023 15:05:53.796"/>
  <p:tag name="MIO_OBJECTNAME" val="Attention"/>
  <p:tag name="MIO_LASTEDITORNAME" val="Tim Tuerg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216d1b5-1ad8-4359-bfa4-551fd3f7d849"/>
  <p:tag name="MIO_GUID" val="a68cdf9f-3361-4f9e-8b18-77d160619507"/>
  <p:tag name="MIO_UPDATE" val="True"/>
  <p:tag name="MIO_VERSION" val="16.01.2021 10:17:58"/>
  <p:tag name="MIO_DBID" val="FDE84254-54DB-49E3-9A0E-CDE72035D530"/>
  <p:tag name="MIO_LASTDOWNLOADED" val="01.08.2023 15:06:09.753"/>
  <p:tag name="MIO_OBJECTNAME" val="Attention"/>
  <p:tag name="MIO_LASTEDITORNAME" val="Tim Tuerg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89416b6-20c7-4edc-8e0b-4cafaddbabd5"/>
  <p:tag name="MIO_EKGUID" val="ea890a8b-b311-4aac-b27f-8ca9d0de9969"/>
  <p:tag name="MIO_UPDATE" val="True"/>
  <p:tag name="MIO_VERSION" val="09.03.2023 11:06:28"/>
  <p:tag name="MIO_DBID" val="FDE84254-54DB-49E3-9A0E-CDE72035D530"/>
  <p:tag name="MIO_LASTDOWNLOADED" val="01.08.2023 15:58:54.136"/>
  <p:tag name="MIO_OBJECTNAME" val="Icon / Text box"/>
  <p:tag name="MIO_LASTEDITORNAME" val="Verena Koh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c99d872b-073d-4155-951f-1f0a78d0c821"/>
  <p:tag name="MIO_UPDATE" val="True"/>
  <p:tag name="MIO_VERSION" val="06.02.2023 10:34:47"/>
  <p:tag name="MIO_DBID" val="0F45B44C-9BC7-4D85-81C4-7155EE70A7B9"/>
  <p:tag name="MIO_LASTDOWNLOADED" val="06.02.2023 11:41:49.144"/>
  <p:tag name="MIO_OBJECTNAME" val="TextBox"/>
  <p:tag name="MIO_LASTEDITORNAME" val=" Verena Koh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1acadadb-aa40-4ecb-95ea-f63f38843141"/>
  <p:tag name="MIO_UPDATE" val="True"/>
  <p:tag name="MIO_VERSION" val="05.03.2023 11:09:35"/>
  <p:tag name="MIO_DBID" val="FDE84254-54DB-49E3-9A0E-CDE72035D530"/>
  <p:tag name="MIO_LASTDOWNLOADED" val="01.08.2023 16:19:19.892"/>
  <p:tag name="MIO_OBJECTNAME" val="Check"/>
  <p:tag name="MIO_LASTEDITORNAME" val="Verena Koh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8216d1b5-1ad8-4359-bfa4-551fd3f7d849"/>
  <p:tag name="MIO_GUID" val="a20e2204-37c1-45bc-92d8-97d971d3f4bd"/>
  <p:tag name="MIO_UPDATE" val="True"/>
  <p:tag name="MIO_VERSION" val="16.01.2021 10:17:58"/>
  <p:tag name="MIO_DBID" val="FDE84254-54DB-49E3-9A0E-CDE72035D530"/>
  <p:tag name="MIO_LASTDOWNLOADED" val="01.08.2023 11:36:28.945"/>
  <p:tag name="MIO_OBJECTNAME" val="Attention"/>
  <p:tag name="MIO_LASTEDITORNAME" val="Tim Tuerg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c99d872b-073d-4155-951f-1f0a78d0c821"/>
  <p:tag name="MIO_UPDATE" val="True"/>
  <p:tag name="MIO_VERSION" val="06.02.2023 10:34:47"/>
  <p:tag name="MIO_DBID" val="0F45B44C-9BC7-4D85-81C4-7155EE70A7B9"/>
  <p:tag name="MIO_LASTDOWNLOADED" val="06.02.2023 11:41:49.144"/>
  <p:tag name="MIO_OBJECTNAME" val="TextBox"/>
  <p:tag name="MIO_LASTEDITORNAME" val=" Verena Koh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1acadadb-aa40-4ecb-95ea-f63f38843141"/>
  <p:tag name="MIO_UPDATE" val="True"/>
  <p:tag name="MIO_VERSION" val="05.03.2023 11:09:35"/>
  <p:tag name="MIO_DBID" val="FDE84254-54DB-49E3-9A0E-CDE72035D530"/>
  <p:tag name="MIO_LASTDOWNLOADED" val="01.08.2023 16:19:19.892"/>
  <p:tag name="MIO_OBJECTNAME" val="Check"/>
  <p:tag name="MIO_LASTEDITORNAME" val="Verena Koh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c99d872b-073d-4155-951f-1f0a78d0c821"/>
  <p:tag name="MIO_UPDATE" val="True"/>
  <p:tag name="MIO_VERSION" val="06.02.2023 10:34:47"/>
  <p:tag name="MIO_DBID" val="0F45B44C-9BC7-4D85-81C4-7155EE70A7B9"/>
  <p:tag name="MIO_LASTDOWNLOADED" val="06.02.2023 11:41:49.144"/>
  <p:tag name="MIO_OBJECTNAME" val="TextBox"/>
  <p:tag name="MIO_LASTEDITORNAME" val=" Verena Koh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1acadadb-aa40-4ecb-95ea-f63f38843141"/>
  <p:tag name="MIO_UPDATE" val="True"/>
  <p:tag name="MIO_VERSION" val="05.03.2023 11:09:35"/>
  <p:tag name="MIO_DBID" val="FDE84254-54DB-49E3-9A0E-CDE72035D530"/>
  <p:tag name="MIO_LASTDOWNLOADED" val="01.08.2023 16:19:19.892"/>
  <p:tag name="MIO_OBJECTNAME" val="Check"/>
  <p:tag name="MIO_LASTEDITORNAME" val="Verena Koh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c99d872b-073d-4155-951f-1f0a78d0c821"/>
  <p:tag name="MIO_UPDATE" val="True"/>
  <p:tag name="MIO_VERSION" val="06.02.2023 10:34:47"/>
  <p:tag name="MIO_DBID" val="0F45B44C-9BC7-4D85-81C4-7155EE70A7B9"/>
  <p:tag name="MIO_LASTDOWNLOADED" val="06.02.2023 11:41:49.144"/>
  <p:tag name="MIO_OBJECTNAME" val="TextBox"/>
  <p:tag name="MIO_LASTEDITORNAME" val=" Verena Koh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1acadadb-aa40-4ecb-95ea-f63f38843141"/>
  <p:tag name="MIO_UPDATE" val="True"/>
  <p:tag name="MIO_VERSION" val="05.03.2023 11:09:35"/>
  <p:tag name="MIO_DBID" val="FDE84254-54DB-49E3-9A0E-CDE72035D530"/>
  <p:tag name="MIO_LASTDOWNLOADED" val="01.08.2023 16:19:19.892"/>
  <p:tag name="MIO_OBJECTNAME" val="Check"/>
  <p:tag name="MIO_LASTEDITORNAME" val="Verena Koh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c99d872b-073d-4155-951f-1f0a78d0c821"/>
  <p:tag name="MIO_UPDATE" val="True"/>
  <p:tag name="MIO_VERSION" val="06.02.2023 10:34:47"/>
  <p:tag name="MIO_DBID" val="0F45B44C-9BC7-4D85-81C4-7155EE70A7B9"/>
  <p:tag name="MIO_LASTDOWNLOADED" val="06.02.2023 11:41:49.144"/>
  <p:tag name="MIO_OBJECTNAME" val="TextBox"/>
  <p:tag name="MIO_LASTEDITORNAME" val=" Verena Koh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d81623d-4be4-4c88-a322-d69cf8cea1c7"/>
  <p:tag name="MIO_GUID" val="1acadadb-aa40-4ecb-95ea-f63f38843141"/>
  <p:tag name="MIO_UPDATE" val="True"/>
  <p:tag name="MIO_VERSION" val="05.03.2023 11:09:35"/>
  <p:tag name="MIO_DBID" val="FDE84254-54DB-49E3-9A0E-CDE72035D530"/>
  <p:tag name="MIO_LASTDOWNLOADED" val="01.08.2023 16:19:19.892"/>
  <p:tag name="MIO_OBJECTNAME" val="Check"/>
  <p:tag name="MIO_LASTEDITORNAME" val="Verena Koh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89416b6-20c7-4edc-8e0b-4cafaddbabd5"/>
  <p:tag name="MIO_EKGUID" val="ea890a8b-b311-4aac-b27f-8ca9d0de9969"/>
  <p:tag name="MIO_UPDATE" val="True"/>
  <p:tag name="MIO_VERSION" val="09.03.2023 11:06:28"/>
  <p:tag name="MIO_DBID" val="FDE84254-54DB-49E3-9A0E-CDE72035D530"/>
  <p:tag name="MIO_LASTDOWNLOADED" val="01.08.2023 15:58:54.136"/>
  <p:tag name="MIO_OBJECTNAME" val="Icon / Text box"/>
  <p:tag name="MIO_LASTEDITORNAME" val="Verena Koh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46ef62b-3d29-4722-ad1a-6a81ec9cceb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e71c875-cf6e-4171-bd9d-1fa820019ec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179eea6-1d62-4452-869b-b6caf58e67d5"/>
  <p:tag name="MIO_EK" val="647"/>
  <p:tag name="MIO_EKGUID" val="1ae9b69e-f2e7-4adf-a9c5-83a418291739"/>
  <p:tag name="MIO_UPDATE" val="True"/>
  <p:tag name="MIO_VERSION" val="09.03.2023 10:09:02"/>
  <p:tag name="MIO_DBID" val="FDE84254-54DB-49E3-9A0E-CDE72035D530"/>
  <p:tag name="MIO_LASTDOWNLOADED" val="01.08.2023 07:36:59.991"/>
  <p:tag name="MIO_OBJECTNAME" val="Post-it"/>
  <p:tag name="MIO_LASTEDITORNAME" val="Verena Koh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a924586-a46b-469f-8cbb-275ca359c8ab"/>
  <p:tag name="MIO_GUID" val="c82bdfb6-2025-42cb-bcf9-5a943e57bb32"/>
  <p:tag name="MIO_UPDATE" val="True"/>
  <p:tag name="MIO_VERSION" val="16.01.2021 10:16:14"/>
  <p:tag name="MIO_DBID" val="FDE84254-54DB-49E3-9A0E-CDE72035D530"/>
  <p:tag name="MIO_LASTDOWNLOADED" val="01.08.2023 11:32:05.071"/>
  <p:tag name="MIO_OBJECTNAME" val="Best-Choice"/>
  <p:tag name="MIO_LASTEDITORNAME" val="Tim Tuerg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46ef62b-3d29-4722-ad1a-6a81ec9cceb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e71c875-cf6e-4171-bd9d-1fa820019ec8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C529A4D857314092F8987294A43FD3" ma:contentTypeVersion="0" ma:contentTypeDescription="Create a new document." ma:contentTypeScope="" ma:versionID="b3a40a446e339e50bd650e277a113f3f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091CAD78-C6F6-407D-A9D5-329355F07703}">
  <ds:schemaRefs>
    <ds:schemaRef ds:uri="http://www.w3.org/XML/1998/namespace"/>
    <ds:schemaRef ds:uri="http://schemas.microsoft.com/office/2006/metadata/properties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1A855BF4-2A99-441B-9566-850307E4F0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71F2A1-2ACF-4A95-B48F-47B38B713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5</Words>
  <Application>Microsoft Office PowerPoint</Application>
  <PresentationFormat>Widescreen</PresentationFormat>
  <Paragraphs>166</Paragraphs>
  <Slides>16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Symbol</vt:lpstr>
      <vt:lpstr>Times New Roman</vt:lpstr>
      <vt:lpstr>Wingdings</vt:lpstr>
      <vt:lpstr>Wingdings 3</vt:lpstr>
      <vt:lpstr>Office Theme</vt:lpstr>
      <vt:lpstr>HISIG- An Efficient Gate Level Simulation Flow for a Hard IP Inside a Soft IP</vt:lpstr>
      <vt:lpstr>Contents</vt:lpstr>
      <vt:lpstr>Introduction</vt:lpstr>
      <vt:lpstr>Hybrid IP GLS Problem</vt:lpstr>
      <vt:lpstr>Hybrid IP GLS Problem….</vt:lpstr>
      <vt:lpstr>HISIG Flow</vt:lpstr>
      <vt:lpstr>HISIG Automation &amp; TB setup</vt:lpstr>
      <vt:lpstr>Converting VCD Toggles to SV TB</vt:lpstr>
      <vt:lpstr>GLS &amp; RTL Output Comparison</vt:lpstr>
      <vt:lpstr>HISIG Pseudo-Code</vt:lpstr>
      <vt:lpstr>Results</vt:lpstr>
      <vt:lpstr>Advantages</vt:lpstr>
      <vt:lpstr>Limitations</vt:lpstr>
      <vt:lpstr>Conclusion</vt:lpstr>
      <vt:lpstr>Referen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11-23T07:37:04Z</dcterms:created>
  <dcterms:modified xsi:type="dcterms:W3CDTF">2023-08-03T12:5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C529A4D857314092F8987294A43FD3</vt:lpwstr>
  </property>
  <property fmtid="{D5CDD505-2E9C-101B-9397-08002B2CF9AE}" pid="3" name="MSIP_Label_6f75f480-7803-4ee9-bb54-84d0635fdbe7_Enabled">
    <vt:lpwstr>true</vt:lpwstr>
  </property>
  <property fmtid="{D5CDD505-2E9C-101B-9397-08002B2CF9AE}" pid="4" name="MSIP_Label_6f75f480-7803-4ee9-bb54-84d0635fdbe7_SetDate">
    <vt:lpwstr>2022-12-15T10:58:23Z</vt:lpwstr>
  </property>
  <property fmtid="{D5CDD505-2E9C-101B-9397-08002B2CF9AE}" pid="5" name="MSIP_Label_6f75f480-7803-4ee9-bb54-84d0635fdbe7_Method">
    <vt:lpwstr>Privileged</vt:lpwstr>
  </property>
  <property fmtid="{D5CDD505-2E9C-101B-9397-08002B2CF9AE}" pid="6" name="MSIP_Label_6f75f480-7803-4ee9-bb54-84d0635fdbe7_Name">
    <vt:lpwstr>unrestricted</vt:lpwstr>
  </property>
  <property fmtid="{D5CDD505-2E9C-101B-9397-08002B2CF9AE}" pid="7" name="MSIP_Label_6f75f480-7803-4ee9-bb54-84d0635fdbe7_SiteId">
    <vt:lpwstr>38ae3bcd-9579-4fd4-adda-b42e1495d55a</vt:lpwstr>
  </property>
  <property fmtid="{D5CDD505-2E9C-101B-9397-08002B2CF9AE}" pid="8" name="MSIP_Label_6f75f480-7803-4ee9-bb54-84d0635fdbe7_ActionId">
    <vt:lpwstr>38c0abd5-c799-45e9-985a-ca31d84c522b</vt:lpwstr>
  </property>
  <property fmtid="{D5CDD505-2E9C-101B-9397-08002B2CF9AE}" pid="9" name="MSIP_Label_6f75f480-7803-4ee9-bb54-84d0635fdbe7_ContentBits">
    <vt:lpwstr>0</vt:lpwstr>
  </property>
  <property fmtid="{D5CDD505-2E9C-101B-9397-08002B2CF9AE}" pid="10" name="Document_Confidentiality">
    <vt:lpwstr>Unrestricted</vt:lpwstr>
  </property>
  <property fmtid="{D5CDD505-2E9C-101B-9397-08002B2CF9AE}" pid="11" name="empower.integration.Classification.DocumentId">
    <vt:lpwstr/>
  </property>
  <property fmtid="{D5CDD505-2E9C-101B-9397-08002B2CF9AE}" pid="12" name="empower.integration.Classification.DocumentVersion">
    <vt:lpwstr/>
  </property>
  <property fmtid="{D5CDD505-2E9C-101B-9397-08002B2CF9AE}" pid="13" name="empower.integration.Classification.DocumentOwner">
    <vt:lpwstr/>
  </property>
  <property fmtid="{D5CDD505-2E9C-101B-9397-08002B2CF9AE}" pid="14" name="empower.integration.Classification.ShowFooter">
    <vt:bool>true</vt:bool>
  </property>
  <property fmtid="{D5CDD505-2E9C-101B-9397-08002B2CF9AE}" pid="15" name="empower.integration.Classification.RestrictionLevel">
    <vt:i4>-1</vt:i4>
  </property>
  <property fmtid="{D5CDD505-2E9C-101B-9397-08002B2CF9AE}" pid="16" name="empower.integration.Classification.FooterDate">
    <vt:filetime>2023-08-02T10:21:38Z</vt:filetime>
  </property>
  <property fmtid="{D5CDD505-2E9C-101B-9397-08002B2CF9AE}" pid="17" name="empower.integration.Classification.DateFormat">
    <vt:lpwstr/>
  </property>
  <property fmtid="{D5CDD505-2E9C-101B-9397-08002B2CF9AE}" pid="18" name="empower.integration.Classification.IsDraft">
    <vt:bool>false</vt:bool>
  </property>
  <property fmtid="{D5CDD505-2E9C-101B-9397-08002B2CF9AE}" pid="19" name="empower.integration.Classification.IsProprietary">
    <vt:bool>false</vt:bool>
  </property>
  <property fmtid="{D5CDD505-2E9C-101B-9397-08002B2CF9AE}" pid="20" name="empower.integration.Classification.HasAdditionalMarking">
    <vt:bool>false</vt:bool>
  </property>
  <property fmtid="{D5CDD505-2E9C-101B-9397-08002B2CF9AE}" pid="21" name="empower.integration.Classification.AdditionalMarking">
    <vt:lpwstr/>
  </property>
  <property fmtid="{D5CDD505-2E9C-101B-9397-08002B2CF9AE}" pid="22" name="empower.integration.Classification.IsEmpowerClassified">
    <vt:bool>false</vt:bool>
  </property>
  <property fmtid="{D5CDD505-2E9C-101B-9397-08002B2CF9AE}" pid="23" name="MSIP_Label_a15a25aa-e944-415d-b7a7-40f6b9180b6b_Enabled">
    <vt:lpwstr>true</vt:lpwstr>
  </property>
  <property fmtid="{D5CDD505-2E9C-101B-9397-08002B2CF9AE}" pid="24" name="MSIP_Label_a15a25aa-e944-415d-b7a7-40f6b9180b6b_SetDate">
    <vt:lpwstr>2023-07-24T10:16:32Z</vt:lpwstr>
  </property>
  <property fmtid="{D5CDD505-2E9C-101B-9397-08002B2CF9AE}" pid="25" name="MSIP_Label_a15a25aa-e944-415d-b7a7-40f6b9180b6b_Method">
    <vt:lpwstr>Standard</vt:lpwstr>
  </property>
  <property fmtid="{D5CDD505-2E9C-101B-9397-08002B2CF9AE}" pid="26" name="MSIP_Label_a15a25aa-e944-415d-b7a7-40f6b9180b6b_Name">
    <vt:lpwstr>a15a25aa-e944-415d-b7a7-40f6b9180b6b</vt:lpwstr>
  </property>
  <property fmtid="{D5CDD505-2E9C-101B-9397-08002B2CF9AE}" pid="27" name="MSIP_Label_a15a25aa-e944-415d-b7a7-40f6b9180b6b_SiteId">
    <vt:lpwstr>eeb8d0e8-3544-41d3-aac6-934c309faf5a</vt:lpwstr>
  </property>
  <property fmtid="{D5CDD505-2E9C-101B-9397-08002B2CF9AE}" pid="28" name="MSIP_Label_a15a25aa-e944-415d-b7a7-40f6b9180b6b_ActionId">
    <vt:lpwstr>d3f804d3-b4f1-48c0-ba3f-b08428f6b25f</vt:lpwstr>
  </property>
  <property fmtid="{D5CDD505-2E9C-101B-9397-08002B2CF9AE}" pid="29" name="MSIP_Label_a15a25aa-e944-415d-b7a7-40f6b9180b6b_ContentBits">
    <vt:lpwstr>0</vt:lpwstr>
  </property>
</Properties>
</file>